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4.xml" ContentType="application/vnd.openxmlformats-officedocument.presentationml.notesSlide+xml"/>
  <Override PartName="/ppt/tags/tag44.xml" ContentType="application/vnd.openxmlformats-officedocument.presentationml.tags+xml"/>
  <Override PartName="/ppt/notesSlides/notesSlide5.xml" ContentType="application/vnd.openxmlformats-officedocument.presentationml.notesSlide+xml"/>
  <Override PartName="/ppt/tags/tag45.xml" ContentType="application/vnd.openxmlformats-officedocument.presentationml.tags+xml"/>
  <Override PartName="/ppt/notesSlides/notesSlide6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7.xml" ContentType="application/vnd.openxmlformats-officedocument.presentationml.notesSlide+xml"/>
  <Override PartName="/ppt/tags/tag48.xml" ContentType="application/vnd.openxmlformats-officedocument.presentationml.tags+xml"/>
  <Override PartName="/ppt/notesSlides/notesSlide8.xml" ContentType="application/vnd.openxmlformats-officedocument.presentationml.notesSlide+xml"/>
  <Override PartName="/ppt/tags/tag49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50.xml" ContentType="application/vnd.openxmlformats-officedocument.presentationml.tags+xml"/>
  <Override PartName="/ppt/notesSlides/notesSlide12.xml" ContentType="application/vnd.openxmlformats-officedocument.presentationml.notesSlide+xml"/>
  <Override PartName="/ppt/tags/tag51.xml" ContentType="application/vnd.openxmlformats-officedocument.presentationml.tags+xml"/>
  <Override PartName="/ppt/notesSlides/notesSlide13.xml" ContentType="application/vnd.openxmlformats-officedocument.presentationml.notesSlide+xml"/>
  <Override PartName="/ppt/tags/tag52.xml" ContentType="application/vnd.openxmlformats-officedocument.presentationml.tags+xml"/>
  <Override PartName="/ppt/notesSlides/notesSlide14.xml" ContentType="application/vnd.openxmlformats-officedocument.presentationml.notesSlide+xml"/>
  <Override PartName="/ppt/tags/tag53.xml" ContentType="application/vnd.openxmlformats-officedocument.presentationml.tags+xml"/>
  <Override PartName="/ppt/notesSlides/notesSlide15.xml" ContentType="application/vnd.openxmlformats-officedocument.presentationml.notesSlide+xml"/>
  <Override PartName="/ppt/tags/tag54.xml" ContentType="application/vnd.openxmlformats-officedocument.presentationml.tags+xml"/>
  <Override PartName="/ppt/notesSlides/notesSlide16.xml" ContentType="application/vnd.openxmlformats-officedocument.presentationml.notesSlide+xml"/>
  <Override PartName="/ppt/tags/tag55.xml" ContentType="application/vnd.openxmlformats-officedocument.presentationml.tags+xml"/>
  <Override PartName="/ppt/notesSlides/notesSlide17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26"/>
  </p:notesMasterIdLst>
  <p:handoutMasterIdLst>
    <p:handoutMasterId r:id="rId27"/>
  </p:handoutMasterIdLst>
  <p:sldIdLst>
    <p:sldId id="517" r:id="rId2"/>
    <p:sldId id="524" r:id="rId3"/>
    <p:sldId id="440" r:id="rId4"/>
    <p:sldId id="525" r:id="rId5"/>
    <p:sldId id="460" r:id="rId6"/>
    <p:sldId id="527" r:id="rId7"/>
    <p:sldId id="528" r:id="rId8"/>
    <p:sldId id="529" r:id="rId9"/>
    <p:sldId id="530" r:id="rId10"/>
    <p:sldId id="531" r:id="rId11"/>
    <p:sldId id="532" r:id="rId12"/>
    <p:sldId id="521" r:id="rId13"/>
    <p:sldId id="533" r:id="rId14"/>
    <p:sldId id="534" r:id="rId15"/>
    <p:sldId id="535" r:id="rId16"/>
    <p:sldId id="518" r:id="rId17"/>
    <p:sldId id="537" r:id="rId18"/>
    <p:sldId id="538" r:id="rId19"/>
    <p:sldId id="539" r:id="rId20"/>
    <p:sldId id="540" r:id="rId21"/>
    <p:sldId id="541" r:id="rId22"/>
    <p:sldId id="542" r:id="rId23"/>
    <p:sldId id="543" r:id="rId24"/>
    <p:sldId id="516" r:id="rId25"/>
  </p:sldIdLst>
  <p:sldSz cx="12192000" cy="6858000"/>
  <p:notesSz cx="6858000" cy="9144000"/>
  <p:custDataLst>
    <p:tags r:id="rId28"/>
  </p:custDataLst>
  <p:defaultTextStyle>
    <a:defPPr>
      <a:defRPr lang="id-ID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ikki Scaplen" initials="NS" lastIdx="19" clrIdx="0">
    <p:extLst>
      <p:ext uri="{19B8F6BF-5375-455C-9EA6-DF929625EA0E}">
        <p15:presenceInfo xmlns:p15="http://schemas.microsoft.com/office/powerpoint/2012/main" userId="S::nscaplen@progress.com::e49d323e-6f55-401c-9b10-1207db30779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6C1FF"/>
    <a:srgbClr val="00D364"/>
    <a:srgbClr val="CDFFCA"/>
    <a:srgbClr val="F3FAFF"/>
    <a:srgbClr val="EEF5FF"/>
    <a:srgbClr val="FFFFFF"/>
    <a:srgbClr val="7F7F7F"/>
    <a:srgbClr val="D5F1FF"/>
    <a:srgbClr val="90EF8E"/>
    <a:srgbClr val="00D5C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D222373-E250-C64D-8A9B-22A034608633}" v="84" dt="2023-03-23T10:53:32.538"/>
  </p1510:revLst>
</p1510:revInfo>
</file>

<file path=ppt/tableStyles.xml><?xml version="1.0" encoding="utf-8"?>
<a:tblStyleLst xmlns:a="http://schemas.openxmlformats.org/drawingml/2006/main" def="{1E171933-4619-4E11-9A3F-F7608DF75F80}"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056" autoAdjust="0"/>
    <p:restoredTop sz="77320" autoAdjust="0"/>
  </p:normalViewPr>
  <p:slideViewPr>
    <p:cSldViewPr snapToGrid="0" showGuides="1">
      <p:cViewPr varScale="1">
        <p:scale>
          <a:sx n="171" d="100"/>
          <a:sy n="171" d="100"/>
        </p:scale>
        <p:origin x="1016" y="17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2582"/>
    </p:cViewPr>
  </p:sorterViewPr>
  <p:notesViewPr>
    <p:cSldViewPr snapToGrid="0" showGuides="1">
      <p:cViewPr varScale="1">
        <p:scale>
          <a:sx n="169" d="100"/>
          <a:sy n="169" d="100"/>
        </p:scale>
        <p:origin x="6608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microsoft.com/office/2015/10/relationships/revisionInfo" Target="revisionInfo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handoutMaster" Target="handoutMasters/handoutMaster1.xml"/><Relationship Id="rId30" Type="http://schemas.openxmlformats.org/officeDocument/2006/relationships/presProps" Target="presProps.xml"/><Relationship Id="rId8" Type="http://schemas.openxmlformats.org/officeDocument/2006/relationships/slide" Target="slides/slide7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d-ID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3FA2CC-1B66-4639-B8DA-DB494024A982}" type="datetimeFigureOut">
              <a:rPr lang="id-ID" smtClean="0">
                <a:latin typeface="Arial" panose="020B0604020202020204" pitchFamily="34" charset="0"/>
              </a:rPr>
              <a:t>23/03/23</a:t>
            </a:fld>
            <a:endParaRPr lang="id-ID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d-ID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279753B-F854-4C78-AD17-D3232BD27861}" type="slidenum">
              <a:rPr lang="id-ID" smtClean="0">
                <a:latin typeface="Arial" panose="020B0604020202020204" pitchFamily="34" charset="0"/>
              </a:rPr>
              <a:t>‹#›</a:t>
            </a:fld>
            <a:endParaRPr lang="id-ID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99300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Arial" panose="020B0604020202020204" pitchFamily="34" charset="0"/>
              </a:defRPr>
            </a:lvl1pPr>
          </a:lstStyle>
          <a:p>
            <a:endParaRPr lang="id-ID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Arial" panose="020B0604020202020204" pitchFamily="34" charset="0"/>
              </a:defRPr>
            </a:lvl1pPr>
          </a:lstStyle>
          <a:p>
            <a:fld id="{E38D6616-5898-4FCB-A57E-5ECAF0ABEA38}" type="datetimeFigureOut">
              <a:rPr lang="id-ID" smtClean="0"/>
              <a:pPr/>
              <a:t>23/03/23</a:t>
            </a:fld>
            <a:endParaRPr lang="id-ID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d-ID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id-ID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Arial" panose="020B0604020202020204" pitchFamily="34" charset="0"/>
              </a:defRPr>
            </a:lvl1pPr>
          </a:lstStyle>
          <a:p>
            <a:endParaRPr lang="id-ID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Arial" panose="020B0604020202020204" pitchFamily="34" charset="0"/>
              </a:defRPr>
            </a:lvl1pPr>
          </a:lstStyle>
          <a:p>
            <a:fld id="{293019A1-94FF-4EE3-817F-0E236D94A3C5}" type="slidenum">
              <a:rPr lang="id-ID" smtClean="0"/>
              <a:pPr/>
              <a:t>‹#›</a:t>
            </a:fld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5376619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3019A1-94FF-4EE3-817F-0E236D94A3C5}" type="slidenum">
              <a:rPr lang="id-ID" smtClean="0"/>
              <a:pPr/>
              <a:t>2</a:t>
            </a:fld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105302862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3019A1-94FF-4EE3-817F-0E236D94A3C5}" type="slidenum">
              <a:rPr lang="id-ID" smtClean="0"/>
              <a:pPr/>
              <a:t>16</a:t>
            </a:fld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96204909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3019A1-94FF-4EE3-817F-0E236D94A3C5}" type="slidenum">
              <a:rPr lang="id-ID" smtClean="0"/>
              <a:pPr/>
              <a:t>17</a:t>
            </a:fld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361461838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dirty="0">
                <a:solidFill>
                  <a:srgbClr val="839496"/>
                </a:solidFill>
                <a:effectLst/>
                <a:latin typeface="Menlo" panose="020B0609030804020204" pitchFamily="49" charset="0"/>
              </a:rPr>
              <a:t>https://</a:t>
            </a:r>
            <a:r>
              <a:rPr lang="en-US" b="0" dirty="0" err="1">
                <a:solidFill>
                  <a:srgbClr val="839496"/>
                </a:solidFill>
                <a:effectLst/>
                <a:latin typeface="Menlo" panose="020B0609030804020204" pitchFamily="49" charset="0"/>
              </a:rPr>
              <a:t>docs.docker.com</a:t>
            </a:r>
            <a:r>
              <a:rPr lang="en-US" b="0" dirty="0">
                <a:solidFill>
                  <a:srgbClr val="839496"/>
                </a:solidFill>
                <a:effectLst/>
                <a:latin typeface="Menlo" panose="020B0609030804020204" pitchFamily="49" charset="0"/>
              </a:rPr>
              <a:t>/engine/reference/</a:t>
            </a:r>
            <a:r>
              <a:rPr lang="en-US" b="0" dirty="0" err="1">
                <a:solidFill>
                  <a:srgbClr val="839496"/>
                </a:solidFill>
                <a:effectLst/>
                <a:latin typeface="Menlo" panose="020B0609030804020204" pitchFamily="49" charset="0"/>
              </a:rPr>
              <a:t>commandline</a:t>
            </a:r>
            <a:r>
              <a:rPr lang="en-US" b="0" dirty="0">
                <a:solidFill>
                  <a:srgbClr val="839496"/>
                </a:solidFill>
                <a:effectLst/>
                <a:latin typeface="Menlo" panose="020B0609030804020204" pitchFamily="49" charset="0"/>
              </a:rPr>
              <a:t>/run/</a:t>
            </a:r>
          </a:p>
          <a:p>
            <a:endParaRPr lang="en-US" b="0" dirty="0">
              <a:solidFill>
                <a:srgbClr val="839496"/>
              </a:solidFill>
              <a:effectLst/>
              <a:latin typeface="Menlo" panose="020B0609030804020204" pitchFamily="49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3019A1-94FF-4EE3-817F-0E236D94A3C5}" type="slidenum">
              <a:rPr lang="id-ID" smtClean="0"/>
              <a:pPr/>
              <a:t>18</a:t>
            </a:fld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365142799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</a:t>
            </a:r>
            <a:r>
              <a:rPr lang="en-US" dirty="0" err="1"/>
              <a:t>github.com</a:t>
            </a:r>
            <a:r>
              <a:rPr lang="en-US" dirty="0"/>
              <a:t>/dotnet/dotnet-docker/blob/main/samples/</a:t>
            </a:r>
            <a:r>
              <a:rPr lang="en-US" dirty="0" err="1"/>
              <a:t>dotnetapp</a:t>
            </a:r>
            <a:r>
              <a:rPr lang="en-US" dirty="0"/>
              <a:t>/</a:t>
            </a:r>
            <a:r>
              <a:rPr lang="en-US" dirty="0" err="1"/>
              <a:t>README.md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3019A1-94FF-4EE3-817F-0E236D94A3C5}" type="slidenum">
              <a:rPr lang="id-ID" smtClean="0"/>
              <a:pPr/>
              <a:t>19</a:t>
            </a:fld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196126305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>
              <a:solidFill>
                <a:srgbClr val="839496"/>
              </a:solidFill>
              <a:effectLst/>
              <a:latin typeface="Menlo" panose="020B0609030804020204" pitchFamily="49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3019A1-94FF-4EE3-817F-0E236D94A3C5}" type="slidenum">
              <a:rPr lang="id-ID" smtClean="0"/>
              <a:pPr/>
              <a:t>20</a:t>
            </a:fld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48259772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dirty="0">
                <a:solidFill>
                  <a:srgbClr val="839496"/>
                </a:solidFill>
                <a:effectLst/>
                <a:latin typeface="Menlo" panose="020B0609030804020204" pitchFamily="49" charset="0"/>
              </a:rPr>
              <a:t>https://</a:t>
            </a:r>
            <a:r>
              <a:rPr lang="en-US" b="0" dirty="0" err="1">
                <a:solidFill>
                  <a:srgbClr val="839496"/>
                </a:solidFill>
                <a:effectLst/>
                <a:latin typeface="Menlo" panose="020B0609030804020204" pitchFamily="49" charset="0"/>
              </a:rPr>
              <a:t>github.com</a:t>
            </a:r>
            <a:r>
              <a:rPr lang="en-US" b="0" dirty="0">
                <a:solidFill>
                  <a:srgbClr val="839496"/>
                </a:solidFill>
                <a:effectLst/>
                <a:latin typeface="Menlo" panose="020B0609030804020204" pitchFamily="49" charset="0"/>
              </a:rPr>
              <a:t>/dotnet/dotnet-docker/blob/main/samples/run-in-</a:t>
            </a:r>
            <a:r>
              <a:rPr lang="en-US" b="0" dirty="0" err="1">
                <a:solidFill>
                  <a:srgbClr val="839496"/>
                </a:solidFill>
                <a:effectLst/>
                <a:latin typeface="Menlo" panose="020B0609030804020204" pitchFamily="49" charset="0"/>
              </a:rPr>
              <a:t>sdk</a:t>
            </a:r>
            <a:r>
              <a:rPr lang="en-US" b="0" dirty="0">
                <a:solidFill>
                  <a:srgbClr val="839496"/>
                </a:solidFill>
                <a:effectLst/>
                <a:latin typeface="Menlo" panose="020B0609030804020204" pitchFamily="49" charset="0"/>
              </a:rPr>
              <a:t>-</a:t>
            </a:r>
            <a:r>
              <a:rPr lang="en-US" b="0" dirty="0" err="1">
                <a:solidFill>
                  <a:srgbClr val="839496"/>
                </a:solidFill>
                <a:effectLst/>
                <a:latin typeface="Menlo" panose="020B0609030804020204" pitchFamily="49" charset="0"/>
              </a:rPr>
              <a:t>container.md</a:t>
            </a:r>
            <a:endParaRPr lang="en-US" b="0" dirty="0">
              <a:solidFill>
                <a:srgbClr val="839496"/>
              </a:solidFill>
              <a:effectLst/>
              <a:latin typeface="Menlo" panose="020B0609030804020204" pitchFamily="49" charset="0"/>
            </a:endParaRPr>
          </a:p>
          <a:p>
            <a:endParaRPr lang="en-US" b="0" dirty="0">
              <a:solidFill>
                <a:srgbClr val="839496"/>
              </a:solidFill>
              <a:effectLst/>
              <a:latin typeface="Menlo" panose="020B0609030804020204" pitchFamily="49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3019A1-94FF-4EE3-817F-0E236D94A3C5}" type="slidenum">
              <a:rPr lang="id-ID" smtClean="0"/>
              <a:pPr/>
              <a:t>21</a:t>
            </a:fld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318959020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dirty="0">
                <a:solidFill>
                  <a:srgbClr val="839496"/>
                </a:solidFill>
                <a:effectLst/>
                <a:latin typeface="Menlo" panose="020B0609030804020204" pitchFamily="49" charset="0"/>
              </a:rPr>
              <a:t>https://</a:t>
            </a:r>
            <a:r>
              <a:rPr lang="en-US" b="0" dirty="0" err="1">
                <a:solidFill>
                  <a:srgbClr val="839496"/>
                </a:solidFill>
                <a:effectLst/>
                <a:latin typeface="Menlo" panose="020B0609030804020204" pitchFamily="49" charset="0"/>
              </a:rPr>
              <a:t>github.com</a:t>
            </a:r>
            <a:r>
              <a:rPr lang="en-US" b="0" dirty="0">
                <a:solidFill>
                  <a:srgbClr val="839496"/>
                </a:solidFill>
                <a:effectLst/>
                <a:latin typeface="Menlo" panose="020B0609030804020204" pitchFamily="49" charset="0"/>
              </a:rPr>
              <a:t>/</a:t>
            </a:r>
            <a:r>
              <a:rPr lang="en-US" b="0" dirty="0" err="1">
                <a:solidFill>
                  <a:srgbClr val="839496"/>
                </a:solidFill>
                <a:effectLst/>
                <a:latin typeface="Menlo" panose="020B0609030804020204" pitchFamily="49" charset="0"/>
              </a:rPr>
              <a:t>tsvetomir</a:t>
            </a:r>
            <a:r>
              <a:rPr lang="en-US" b="0" dirty="0">
                <a:solidFill>
                  <a:srgbClr val="839496"/>
                </a:solidFill>
                <a:effectLst/>
                <a:latin typeface="Menlo" panose="020B0609030804020204" pitchFamily="49" charset="0"/>
              </a:rPr>
              <a:t>/presentations/tree/main/intro-to-docker/node-app-</a:t>
            </a:r>
            <a:r>
              <a:rPr lang="en-US" b="0" dirty="0" err="1">
                <a:solidFill>
                  <a:srgbClr val="839496"/>
                </a:solidFill>
                <a:effectLst/>
                <a:latin typeface="Menlo" panose="020B0609030804020204" pitchFamily="49" charset="0"/>
              </a:rPr>
              <a:t>debian</a:t>
            </a:r>
            <a:endParaRPr lang="en-US" b="0" dirty="0">
              <a:solidFill>
                <a:srgbClr val="839496"/>
              </a:solidFill>
              <a:effectLst/>
              <a:latin typeface="Menlo" panose="020B0609030804020204" pitchFamily="49" charset="0"/>
            </a:endParaRPr>
          </a:p>
          <a:p>
            <a:br>
              <a:rPr lang="en-US" b="0" dirty="0">
                <a:solidFill>
                  <a:srgbClr val="839496"/>
                </a:solidFill>
                <a:effectLst/>
                <a:latin typeface="Menlo" panose="020B0609030804020204" pitchFamily="49" charset="0"/>
              </a:rPr>
            </a:br>
            <a:endParaRPr lang="en-US" b="0" dirty="0">
              <a:solidFill>
                <a:srgbClr val="839496"/>
              </a:solidFill>
              <a:effectLst/>
              <a:latin typeface="Menlo" panose="020B0609030804020204" pitchFamily="49" charset="0"/>
            </a:endParaRPr>
          </a:p>
          <a:p>
            <a:endParaRPr lang="en-US" b="0" dirty="0">
              <a:solidFill>
                <a:srgbClr val="839496"/>
              </a:solidFill>
              <a:effectLst/>
              <a:latin typeface="Menlo" panose="020B0609030804020204" pitchFamily="49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3019A1-94FF-4EE3-817F-0E236D94A3C5}" type="slidenum">
              <a:rPr lang="id-ID" smtClean="0"/>
              <a:pPr/>
              <a:t>22</a:t>
            </a:fld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295472720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>
              <a:solidFill>
                <a:srgbClr val="839496"/>
              </a:solidFill>
              <a:effectLst/>
              <a:latin typeface="Menlo" panose="020B0609030804020204" pitchFamily="49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3019A1-94FF-4EE3-817F-0E236D94A3C5}" type="slidenum">
              <a:rPr lang="id-ID" smtClean="0"/>
              <a:pPr/>
              <a:t>23</a:t>
            </a:fld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19794152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BG" dirty="0"/>
              <a:t>Virtual Machines allow regular Operating Systems to run on emulated hardware. The Operating System is (mostly) </a:t>
            </a:r>
            <a:r>
              <a:rPr lang="en-US" dirty="0"/>
              <a:t>oblivious to it.</a:t>
            </a:r>
          </a:p>
          <a:p>
            <a:endParaRPr lang="en-B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3019A1-94FF-4EE3-817F-0E236D94A3C5}" type="slidenum">
              <a:rPr lang="id-ID" smtClean="0"/>
              <a:pPr/>
              <a:t>3</a:t>
            </a:fld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7361468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BG" dirty="0"/>
              <a:t>What’s a Virtual Environment?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BG" dirty="0"/>
              <a:t>An application and everything it needs to run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BG" dirty="0"/>
              <a:t>Can resemble a regular computer, with its own copy of system utilites and software packages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BG" dirty="0"/>
              <a:t>Can access only selected parts of the host file system and hardware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BG" dirty="0"/>
              <a:t>A feature of the Operating System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B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3019A1-94FF-4EE3-817F-0E236D94A3C5}" type="slidenum">
              <a:rPr lang="id-ID" smtClean="0"/>
              <a:pPr/>
              <a:t>4</a:t>
            </a:fld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210504423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indows Containers do not run on Linux</a:t>
            </a:r>
          </a:p>
          <a:p>
            <a:r>
              <a:rPr lang="en-BG" dirty="0"/>
              <a:t>Docker Desktop can toggle between Windows and Linux container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3019A1-94FF-4EE3-817F-0E236D94A3C5}" type="slidenum">
              <a:rPr lang="id-ID" smtClean="0"/>
              <a:pPr/>
              <a:t>9</a:t>
            </a:fld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25344661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</a:t>
            </a:r>
            <a:r>
              <a:rPr lang="en-US" dirty="0" err="1"/>
              <a:t>hub.docker.com</a:t>
            </a:r>
            <a:r>
              <a:rPr lang="en-US" dirty="0"/>
              <a:t>/</a:t>
            </a:r>
            <a:r>
              <a:rPr lang="en-US" dirty="0" err="1"/>
              <a:t>signup?redirectTo</a:t>
            </a:r>
            <a:r>
              <a:rPr lang="en-US" dirty="0"/>
              <a:t>=/</a:t>
            </a:r>
            <a:r>
              <a:rPr lang="en-US" dirty="0" err="1"/>
              <a:t>subscription?plan</a:t>
            </a:r>
            <a:r>
              <a:rPr lang="en-US" dirty="0"/>
              <a:t>=free</a:t>
            </a:r>
          </a:p>
          <a:p>
            <a:r>
              <a:rPr lang="en-US" dirty="0"/>
              <a:t>https://</a:t>
            </a:r>
            <a:r>
              <a:rPr lang="en-US" dirty="0" err="1"/>
              <a:t>www.docker.com</a:t>
            </a:r>
            <a:r>
              <a:rPr lang="en-US" dirty="0"/>
              <a:t>/pricing/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3019A1-94FF-4EE3-817F-0E236D94A3C5}" type="slidenum">
              <a:rPr lang="id-ID" smtClean="0"/>
              <a:pPr/>
              <a:t>10</a:t>
            </a:fld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25464244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dirty="0">
                <a:solidFill>
                  <a:srgbClr val="839496"/>
                </a:solidFill>
                <a:effectLst/>
                <a:latin typeface="Menlo" panose="020B0609030804020204" pitchFamily="49" charset="0"/>
              </a:rPr>
              <a:t>https://</a:t>
            </a:r>
            <a:r>
              <a:rPr lang="en-US" b="0" dirty="0" err="1">
                <a:solidFill>
                  <a:srgbClr val="839496"/>
                </a:solidFill>
                <a:effectLst/>
                <a:latin typeface="Menlo" panose="020B0609030804020204" pitchFamily="49" charset="0"/>
              </a:rPr>
              <a:t>podman.io</a:t>
            </a:r>
            <a:r>
              <a:rPr lang="en-US" b="0" dirty="0">
                <a:solidFill>
                  <a:srgbClr val="839496"/>
                </a:solidFill>
                <a:effectLst/>
                <a:latin typeface="Menlo" panose="020B0609030804020204" pitchFamily="49" charset="0"/>
              </a:rPr>
              <a:t>/getting-started/installation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3019A1-94FF-4EE3-817F-0E236D94A3C5}" type="slidenum">
              <a:rPr lang="id-ID" smtClean="0"/>
              <a:pPr/>
              <a:t>11</a:t>
            </a:fld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82819675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3019A1-94FF-4EE3-817F-0E236D94A3C5}" type="slidenum">
              <a:rPr lang="id-ID" smtClean="0"/>
              <a:pPr/>
              <a:t>13</a:t>
            </a:fld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10164808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dirty="0">
                <a:solidFill>
                  <a:srgbClr val="839496"/>
                </a:solidFill>
                <a:effectLst/>
                <a:latin typeface="Menlo" panose="020B0609030804020204" pitchFamily="49" charset="0"/>
              </a:rPr>
              <a:t>https://</a:t>
            </a:r>
            <a:r>
              <a:rPr lang="en-US" b="0" dirty="0" err="1">
                <a:solidFill>
                  <a:srgbClr val="839496"/>
                </a:solidFill>
                <a:effectLst/>
                <a:latin typeface="Menlo" panose="020B0609030804020204" pitchFamily="49" charset="0"/>
              </a:rPr>
              <a:t>docs.docker.com</a:t>
            </a:r>
            <a:r>
              <a:rPr lang="en-US" b="0" dirty="0">
                <a:solidFill>
                  <a:srgbClr val="839496"/>
                </a:solidFill>
                <a:effectLst/>
                <a:latin typeface="Menlo" panose="020B0609030804020204" pitchFamily="49" charset="0"/>
              </a:rPr>
              <a:t>/engine/reference/builder/</a:t>
            </a:r>
          </a:p>
          <a:p>
            <a:r>
              <a:rPr lang="en-US" b="0" dirty="0">
                <a:solidFill>
                  <a:srgbClr val="839496"/>
                </a:solidFill>
                <a:effectLst/>
                <a:latin typeface="Menlo" panose="020B0609030804020204" pitchFamily="49" charset="0"/>
              </a:rPr>
              <a:t>https://</a:t>
            </a:r>
            <a:r>
              <a:rPr lang="en-US" b="0" dirty="0" err="1">
                <a:solidFill>
                  <a:srgbClr val="839496"/>
                </a:solidFill>
                <a:effectLst/>
                <a:latin typeface="Menlo" panose="020B0609030804020204" pitchFamily="49" charset="0"/>
              </a:rPr>
              <a:t>docs.docker.com</a:t>
            </a:r>
            <a:r>
              <a:rPr lang="en-US" b="0" dirty="0">
                <a:solidFill>
                  <a:srgbClr val="839496"/>
                </a:solidFill>
                <a:effectLst/>
                <a:latin typeface="Menlo" panose="020B0609030804020204" pitchFamily="49" charset="0"/>
              </a:rPr>
              <a:t>/develop/develop-images/</a:t>
            </a:r>
            <a:r>
              <a:rPr lang="en-US" b="0" dirty="0" err="1">
                <a:solidFill>
                  <a:srgbClr val="839496"/>
                </a:solidFill>
                <a:effectLst/>
                <a:latin typeface="Menlo" panose="020B0609030804020204" pitchFamily="49" charset="0"/>
              </a:rPr>
              <a:t>dockerfile_best</a:t>
            </a:r>
            <a:r>
              <a:rPr lang="en-US" b="0" dirty="0">
                <a:solidFill>
                  <a:srgbClr val="839496"/>
                </a:solidFill>
                <a:effectLst/>
                <a:latin typeface="Menlo" panose="020B0609030804020204" pitchFamily="49" charset="0"/>
              </a:rPr>
              <a:t>-practices</a:t>
            </a:r>
          </a:p>
          <a:p>
            <a:endParaRPr lang="en-US" b="0" dirty="0">
              <a:solidFill>
                <a:srgbClr val="839496"/>
              </a:solidFill>
              <a:effectLst/>
              <a:latin typeface="Menlo" panose="020B0609030804020204" pitchFamily="49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3019A1-94FF-4EE3-817F-0E236D94A3C5}" type="slidenum">
              <a:rPr lang="id-ID" smtClean="0"/>
              <a:pPr/>
              <a:t>14</a:t>
            </a:fld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51833641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dirty="0">
                <a:solidFill>
                  <a:srgbClr val="839496"/>
                </a:solidFill>
                <a:effectLst/>
                <a:latin typeface="Menlo" panose="020B0609030804020204" pitchFamily="49" charset="0"/>
              </a:rPr>
              <a:t>https://</a:t>
            </a:r>
            <a:r>
              <a:rPr lang="en-US" b="0" dirty="0" err="1">
                <a:solidFill>
                  <a:srgbClr val="839496"/>
                </a:solidFill>
                <a:effectLst/>
                <a:latin typeface="Menlo" panose="020B0609030804020204" pitchFamily="49" charset="0"/>
              </a:rPr>
              <a:t>docs.docker.com</a:t>
            </a:r>
            <a:r>
              <a:rPr lang="en-US" b="0" dirty="0">
                <a:solidFill>
                  <a:srgbClr val="839496"/>
                </a:solidFill>
                <a:effectLst/>
                <a:latin typeface="Menlo" panose="020B0609030804020204" pitchFamily="49" charset="0"/>
              </a:rPr>
              <a:t>/engine/reference/</a:t>
            </a:r>
            <a:r>
              <a:rPr lang="en-US" b="0" dirty="0" err="1">
                <a:solidFill>
                  <a:srgbClr val="839496"/>
                </a:solidFill>
                <a:effectLst/>
                <a:latin typeface="Menlo" panose="020B0609030804020204" pitchFamily="49" charset="0"/>
              </a:rPr>
              <a:t>commandline</a:t>
            </a:r>
            <a:r>
              <a:rPr lang="en-US" b="0" dirty="0">
                <a:solidFill>
                  <a:srgbClr val="839496"/>
                </a:solidFill>
                <a:effectLst/>
                <a:latin typeface="Menlo" panose="020B0609030804020204" pitchFamily="49" charset="0"/>
              </a:rPr>
              <a:t>/build/</a:t>
            </a:r>
          </a:p>
          <a:p>
            <a:endParaRPr lang="en-US" b="0" dirty="0">
              <a:solidFill>
                <a:srgbClr val="839496"/>
              </a:solidFill>
              <a:effectLst/>
              <a:latin typeface="Menlo" panose="020B0609030804020204" pitchFamily="49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3019A1-94FF-4EE3-817F-0E236D94A3C5}" type="slidenum">
              <a:rPr lang="id-ID" smtClean="0"/>
              <a:pPr/>
              <a:t>15</a:t>
            </a:fld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2819802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7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6" Type="http://schemas.openxmlformats.org/officeDocument/2006/relationships/image" Target="../media/image2.png"/><Relationship Id="rId5" Type="http://schemas.openxmlformats.org/officeDocument/2006/relationships/image" Target="../media/image21.png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6" Type="http://schemas.openxmlformats.org/officeDocument/2006/relationships/image" Target="../media/image2.png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7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image" Target="../media/image23.png"/><Relationship Id="rId7" Type="http://schemas.openxmlformats.org/officeDocument/2006/relationships/image" Target="../media/image1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image" Target="../media/image24.svg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oleObject" Target="../embeddings/oleObject26.bin"/><Relationship Id="rId7" Type="http://schemas.openxmlformats.org/officeDocument/2006/relationships/image" Target="../media/image1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6" Type="http://schemas.openxmlformats.org/officeDocument/2006/relationships/image" Target="../media/image26.svg"/><Relationship Id="rId5" Type="http://schemas.openxmlformats.org/officeDocument/2006/relationships/image" Target="../media/image25.png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image" Target="../media/image23.png"/><Relationship Id="rId7" Type="http://schemas.openxmlformats.org/officeDocument/2006/relationships/image" Target="../media/image1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image" Target="../media/image24.svg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oleObject" Target="../embeddings/oleObject28.bin"/><Relationship Id="rId7" Type="http://schemas.openxmlformats.org/officeDocument/2006/relationships/image" Target="../media/image1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6" Type="http://schemas.openxmlformats.org/officeDocument/2006/relationships/image" Target="../media/image26.svg"/><Relationship Id="rId5" Type="http://schemas.openxmlformats.org/officeDocument/2006/relationships/image" Target="../media/image25.png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image" Target="../media/image23.png"/><Relationship Id="rId7" Type="http://schemas.openxmlformats.org/officeDocument/2006/relationships/image" Target="../media/image1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image" Target="../media/image24.svg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image" Target="../media/image25.png"/><Relationship Id="rId7" Type="http://schemas.openxmlformats.org/officeDocument/2006/relationships/image" Target="../media/image1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image" Target="../media/image26.sv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0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0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31.png"/><Relationship Id="rId4" Type="http://schemas.openxmlformats.org/officeDocument/2006/relationships/image" Target="../media/image32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4114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B1AA0DB6-5A8E-3741-A2E5-D936D902DD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8973" y="4846683"/>
            <a:ext cx="5278437" cy="388554"/>
          </a:xfrm>
        </p:spPr>
        <p:txBody>
          <a:bodyPr tIns="36000" anchor="ctr" anchorCtr="0">
            <a:noAutofit/>
          </a:bodyPr>
          <a:lstStyle>
            <a:lvl1pPr marL="0" indent="0" algn="l">
              <a:lnSpc>
                <a:spcPts val="1800"/>
              </a:lnSpc>
              <a:buNone/>
              <a:defRPr sz="2400" b="1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ED3701CF-5DFA-EE46-92C6-82EBEFFD83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38973" y="5312130"/>
            <a:ext cx="5278437" cy="312131"/>
          </a:xfrm>
        </p:spPr>
        <p:txBody>
          <a:bodyPr tIns="72000" anchor="ctr" anchorCtr="0">
            <a:noAutofit/>
          </a:bodyPr>
          <a:lstStyle>
            <a:lvl1pPr marL="0" indent="0" algn="l">
              <a:lnSpc>
                <a:spcPts val="1800"/>
              </a:lnSpc>
              <a:buNone/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08E4E795-5B28-AA4F-9CA0-12577F806AA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8973" y="5771692"/>
            <a:ext cx="5278437" cy="312131"/>
          </a:xfrm>
        </p:spPr>
        <p:txBody>
          <a:bodyPr tIns="72000" anchor="ctr" anchorCtr="0">
            <a:noAutofit/>
          </a:bodyPr>
          <a:lstStyle>
            <a:lvl1pPr marL="0" indent="0" algn="l">
              <a:lnSpc>
                <a:spcPts val="1800"/>
              </a:lnSpc>
              <a:buNone/>
              <a:defRPr sz="1800" b="0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28" name="Title 3">
            <a:extLst>
              <a:ext uri="{FF2B5EF4-FFF2-40B4-BE49-F238E27FC236}">
                <a16:creationId xmlns:a16="http://schemas.microsoft.com/office/drawing/2014/main" id="{9EE63D74-8A47-0A4F-A4FD-DE60CD33AB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8973" y="1594770"/>
            <a:ext cx="5261778" cy="1199693"/>
          </a:xfrm>
          <a:prstGeom prst="rect">
            <a:avLst/>
          </a:prstGeom>
        </p:spPr>
        <p:txBody>
          <a:bodyPr lIns="0" tIns="108000" rIns="0" bIns="0" anchor="t" anchorCtr="0">
            <a:noAutofit/>
          </a:bodyPr>
          <a:lstStyle>
            <a:lvl1pPr>
              <a:lnSpc>
                <a:spcPct val="85000"/>
              </a:lnSpc>
              <a:defRPr sz="4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BG" dirty="0"/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id="{77BE795C-072A-459C-8648-8D68BC93FAA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426315" y="745314"/>
            <a:ext cx="1341526" cy="311178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4D3546BD-7E45-4960-A98F-8DEA36022CB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437375" y="0"/>
            <a:ext cx="5755123" cy="6858594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6B76E93-9883-F34D-AFCA-0B3B569868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8973" y="3356068"/>
            <a:ext cx="5294312" cy="674687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GB" dirty="0" err="1"/>
              <a:t>Subheadline</a:t>
            </a:r>
            <a:endParaRPr lang="en-BG" dirty="0"/>
          </a:p>
        </p:txBody>
      </p:sp>
    </p:spTree>
    <p:extLst>
      <p:ext uri="{BB962C8B-B14F-4D97-AF65-F5344CB8AC3E}">
        <p14:creationId xmlns:p14="http://schemas.microsoft.com/office/powerpoint/2010/main" val="32708060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 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D76F96D7-3861-4A18-8BE8-BFE2C16BD1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39E0605-A019-8B42-9A32-973C02298032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59C976F3-4B2A-4592-A02C-33E0810006D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94075" y="6453499"/>
            <a:ext cx="939600" cy="217948"/>
          </a:xfrm>
          <a:prstGeom prst="rect">
            <a:avLst/>
          </a:prstGeom>
        </p:spPr>
      </p:pic>
      <p:sp>
        <p:nvSpPr>
          <p:cNvPr id="6" name="Rectangle 3">
            <a:extLst>
              <a:ext uri="{FF2B5EF4-FFF2-40B4-BE49-F238E27FC236}">
                <a16:creationId xmlns:a16="http://schemas.microsoft.com/office/drawing/2014/main" id="{2CD28ED7-631C-7840-9872-270900F9D50F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2540642" y="2592388"/>
            <a:ext cx="6973747" cy="1606550"/>
          </a:xfrm>
          <a:prstGeom prst="rect">
            <a:avLst/>
          </a:prstGeom>
          <a:ln algn="ctr"/>
        </p:spPr>
        <p:txBody>
          <a:bodyPr vert="horz" lIns="0" tIns="0" rIns="0" bIns="0" anchor="ctr" anchorCtr="0">
            <a:noAutofit/>
          </a:bodyPr>
          <a:lstStyle>
            <a:lvl1pPr algn="ctr">
              <a:lnSpc>
                <a:spcPts val="3600"/>
              </a:lnSpc>
              <a:defRPr sz="4000" b="1">
                <a:solidFill>
                  <a:schemeClr val="tx1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r>
              <a:rPr lang="en-US" dirty="0"/>
              <a:t>Centered Title Style</a:t>
            </a:r>
            <a:br>
              <a:rPr lang="en-US" dirty="0"/>
            </a:br>
            <a:r>
              <a:rPr lang="en-US" dirty="0"/>
              <a:t>Up to</a:t>
            </a:r>
            <a:br>
              <a:rPr lang="en-US" dirty="0"/>
            </a:br>
            <a:r>
              <a:rPr lang="en-US" dirty="0"/>
              <a:t>Three Lin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527377C-2599-4543-9545-AACF65E5CE68}"/>
              </a:ext>
            </a:extLst>
          </p:cNvPr>
          <p:cNvSpPr txBox="1"/>
          <p:nvPr userDrawn="1"/>
        </p:nvSpPr>
        <p:spPr>
          <a:xfrm>
            <a:off x="4507424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</a:t>
            </a:r>
            <a:r>
              <a:rPr lang="bg-BG" sz="600" b="0" spc="0" baseline="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en-US" sz="600" b="0" spc="0" baseline="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600" b="0" i="0" spc="0" baseline="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6689801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61753ADC-75D8-4448-B5D4-E9BBB1B32F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1251" y="538162"/>
            <a:ext cx="5278437" cy="1117523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/>
          <a:p>
            <a:r>
              <a:rPr lang="en-GB" dirty="0"/>
              <a:t>Agenda</a:t>
            </a:r>
            <a:endParaRPr lang="en-BG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08ADCBA-BAEE-4E90-8DF9-D7E52648636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6010656" cy="6858000"/>
          </a:xfrm>
          <a:prstGeom prst="rect">
            <a:avLst/>
          </a:prstGeom>
        </p:spPr>
      </p:pic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7717AEA2-C535-A841-90FA-42041EABB7A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181346" y="1814513"/>
            <a:ext cx="5276850" cy="44878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22756382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7">
            <a:extLst>
              <a:ext uri="{FF2B5EF4-FFF2-40B4-BE49-F238E27FC236}">
                <a16:creationId xmlns:a16="http://schemas.microsoft.com/office/drawing/2014/main" id="{1D14C74F-C6B8-BA4D-B7D2-50D8BE1D38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1251" y="538162"/>
            <a:ext cx="5278437" cy="1117523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/>
          <a:p>
            <a:r>
              <a:rPr lang="en-GB" dirty="0"/>
              <a:t>Agenda</a:t>
            </a:r>
            <a:endParaRPr lang="en-BG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5ABA020A-167C-8548-B132-41F414F8BC1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181346" y="1814513"/>
            <a:ext cx="5276850" cy="44878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G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7BBB2C5C-B07E-F258-FB9D-1DA4DFC0E5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4751"/>
          <a:stretch/>
        </p:blipFill>
        <p:spPr>
          <a:xfrm>
            <a:off x="0" y="-1"/>
            <a:ext cx="5842000" cy="6532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9753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53A27003-DC61-C64B-B594-FC0DBDB245C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DE9F7"/>
          </a:solidFill>
        </p:spPr>
        <p:txBody>
          <a:bodyPr vert="horz" lIns="91440" tIns="72000" rIns="91440" bIns="756000" rtlCol="0" anchor="ctr">
            <a:noAutofit/>
          </a:bodyPr>
          <a:lstStyle>
            <a:lvl1pPr algn="ctr">
              <a:defRPr lang="id-ID" sz="18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id-ID" dirty="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41450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>
            <a:extLst>
              <a:ext uri="{FF2B5EF4-FFF2-40B4-BE49-F238E27FC236}">
                <a16:creationId xmlns:a16="http://schemas.microsoft.com/office/drawing/2014/main" id="{0914E58E-8C0C-C445-92B6-E34490EA0F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2312" y="4198939"/>
            <a:ext cx="7102475" cy="2038350"/>
          </a:xfrm>
          <a:prstGeom prst="rect">
            <a:avLst/>
          </a:prstGeom>
        </p:spPr>
        <p:txBody>
          <a:bodyPr vert="horz" tIns="144000" anchor="t">
            <a:noAutofit/>
          </a:bodyPr>
          <a:lstStyle>
            <a:lvl1pPr>
              <a:lnSpc>
                <a:spcPts val="5400"/>
              </a:lnSpc>
              <a:defRPr lang="en-US" sz="5000" b="1" i="0" kern="0" spc="-150" noProof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Very Important </a:t>
            </a:r>
            <a:br>
              <a:rPr lang="bg-BG" dirty="0"/>
            </a:br>
            <a:r>
              <a:rPr lang="en-US" dirty="0"/>
              <a:t>Message / Statement </a:t>
            </a:r>
            <a:br>
              <a:rPr lang="bg-BG" dirty="0"/>
            </a:br>
            <a:r>
              <a:rPr lang="en-US" dirty="0"/>
              <a:t>/ Conclusion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24BB9F5E-A805-46CD-8420-640AE6C67799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0" smtClean="0">
                <a:solidFill>
                  <a:schemeClr val="bg1">
                    <a:alpha val="69766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0" dirty="0">
              <a:solidFill>
                <a:schemeClr val="bg1">
                  <a:alpha val="69766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149377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438742F8-5A41-4D57-8915-9A3A10D784C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03DF981-DDA8-4688-9D48-4FA539CF78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82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D353A27C-9CA1-41C1-8BC3-5CD8A6984842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69766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 dirty="0">
              <a:solidFill>
                <a:schemeClr val="bg1">
                  <a:alpha val="69766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6CEBBCEF-39BE-0E4C-9FD9-5B7346DB44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2312" y="4198939"/>
            <a:ext cx="7102475" cy="2038350"/>
          </a:xfrm>
          <a:prstGeom prst="rect">
            <a:avLst/>
          </a:prstGeom>
        </p:spPr>
        <p:txBody>
          <a:bodyPr vert="horz" tIns="144000" anchor="t">
            <a:noAutofit/>
          </a:bodyPr>
          <a:lstStyle>
            <a:lvl1pPr>
              <a:lnSpc>
                <a:spcPts val="5400"/>
              </a:lnSpc>
              <a:defRPr lang="en-US" sz="5000" b="1" i="0" kern="0" spc="-150" noProof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Very Important </a:t>
            </a:r>
            <a:br>
              <a:rPr lang="bg-BG" dirty="0"/>
            </a:br>
            <a:r>
              <a:rPr lang="en-US" dirty="0"/>
              <a:t>Message / Statement </a:t>
            </a:r>
            <a:br>
              <a:rPr lang="bg-BG" dirty="0"/>
            </a:br>
            <a:r>
              <a:rPr lang="en-US" dirty="0"/>
              <a:t>/ Conclus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644D47E-2B4A-414F-B983-788987889D27}"/>
              </a:ext>
            </a:extLst>
          </p:cNvPr>
          <p:cNvSpPr txBox="1"/>
          <p:nvPr userDrawn="1"/>
        </p:nvSpPr>
        <p:spPr>
          <a:xfrm>
            <a:off x="4507424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</a:t>
            </a:r>
            <a:r>
              <a:rPr lang="bg-BG" sz="600" b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en-US" sz="600" b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600" b="0" i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999918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Slide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Background pattern&#10;&#10;Description automatically generated">
            <a:extLst>
              <a:ext uri="{FF2B5EF4-FFF2-40B4-BE49-F238E27FC236}">
                <a16:creationId xmlns:a16="http://schemas.microsoft.com/office/drawing/2014/main" id="{8C9E8280-2F6B-4947-9931-9EE1011B90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48EB774F-D493-4254-A24C-E9681757802C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69766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 dirty="0">
              <a:solidFill>
                <a:schemeClr val="bg1">
                  <a:alpha val="69766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47C19ED-F2B0-4B41-893A-30A30DCEE0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2312" y="4198939"/>
            <a:ext cx="7102475" cy="2038350"/>
          </a:xfrm>
          <a:prstGeom prst="rect">
            <a:avLst/>
          </a:prstGeom>
        </p:spPr>
        <p:txBody>
          <a:bodyPr vert="horz" tIns="144000" anchor="t">
            <a:noAutofit/>
          </a:bodyPr>
          <a:lstStyle>
            <a:lvl1pPr>
              <a:lnSpc>
                <a:spcPts val="5400"/>
              </a:lnSpc>
              <a:defRPr lang="en-US" sz="5000" b="1" i="0" kern="0" spc="-150" noProof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Very Important </a:t>
            </a:r>
            <a:br>
              <a:rPr lang="bg-BG" dirty="0"/>
            </a:br>
            <a:r>
              <a:rPr lang="en-US" dirty="0"/>
              <a:t>Message / Statement </a:t>
            </a:r>
            <a:br>
              <a:rPr lang="bg-BG" dirty="0"/>
            </a:br>
            <a:r>
              <a:rPr lang="en-US" dirty="0"/>
              <a:t>/ Conclus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806FEC3-598C-8A4B-9E0E-C28EF72E794F}"/>
              </a:ext>
            </a:extLst>
          </p:cNvPr>
          <p:cNvSpPr txBox="1"/>
          <p:nvPr userDrawn="1"/>
        </p:nvSpPr>
        <p:spPr>
          <a:xfrm>
            <a:off x="4507424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</a:t>
            </a:r>
            <a:r>
              <a:rPr lang="bg-BG" sz="600" b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en-US" sz="600" b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600" b="0" i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71233673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DE9F7"/>
          </a:solidFill>
        </p:spPr>
        <p:txBody>
          <a:bodyPr vert="horz" lIns="91440" tIns="72000" rIns="91440" bIns="756000" rtlCol="0" anchor="ctr">
            <a:noAutofit/>
          </a:bodyPr>
          <a:lstStyle>
            <a:lvl1pPr algn="ctr">
              <a:defRPr lang="id-ID" sz="18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88605083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69719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7">
            <a:extLst>
              <a:ext uri="{FF2B5EF4-FFF2-40B4-BE49-F238E27FC236}">
                <a16:creationId xmlns:a16="http://schemas.microsoft.com/office/drawing/2014/main" id="{97D07DB7-7D51-724B-BE5C-77B45E5DB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3"/>
            <a:ext cx="10747374" cy="1139825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BG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3097676-D6A1-2D4B-BDD3-E7E914641366}"/>
              </a:ext>
            </a:extLst>
          </p:cNvPr>
          <p:cNvSpPr txBox="1"/>
          <p:nvPr userDrawn="1"/>
        </p:nvSpPr>
        <p:spPr>
          <a:xfrm>
            <a:off x="722313" y="1780674"/>
            <a:ext cx="10747374" cy="44490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8C9353E-244A-3B4E-B54E-FCA42C0733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2313" y="1863725"/>
            <a:ext cx="10747375" cy="43656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G" dirty="0"/>
          </a:p>
        </p:txBody>
      </p:sp>
    </p:spTree>
    <p:extLst>
      <p:ext uri="{BB962C8B-B14F-4D97-AF65-F5344CB8AC3E}">
        <p14:creationId xmlns:p14="http://schemas.microsoft.com/office/powerpoint/2010/main" val="7865173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4976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7">
            <a:extLst>
              <a:ext uri="{FF2B5EF4-FFF2-40B4-BE49-F238E27FC236}">
                <a16:creationId xmlns:a16="http://schemas.microsoft.com/office/drawing/2014/main" id="{97D07DB7-7D51-724B-BE5C-77B45E5DBA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2313" y="538163"/>
            <a:ext cx="10747374" cy="1139825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/>
          <a:p>
            <a:r>
              <a:rPr lang="en-GB" dirty="0"/>
              <a:t>Sample Long Agenda</a:t>
            </a:r>
            <a:endParaRPr lang="en-BG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99A1C1DC-057B-7F49-B87B-ADDF223045D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15064" y="1805153"/>
            <a:ext cx="5254625" cy="4409909"/>
          </a:xfrm>
        </p:spPr>
        <p:txBody>
          <a:bodyPr/>
          <a:lstStyle>
            <a:lvl1pPr marL="314325" indent="-314325">
              <a:lnSpc>
                <a:spcPct val="100000"/>
              </a:lnSpc>
              <a:buClr>
                <a:schemeClr val="tx2"/>
              </a:buClr>
              <a:buSzPct val="100000"/>
              <a:buFont typeface="+mj-lt"/>
              <a:buAutoNum type="arabicPeriod"/>
              <a:tabLst/>
              <a:defRPr/>
            </a:lvl1pPr>
            <a:lvl2pPr marL="536575" indent="-314325">
              <a:lnSpc>
                <a:spcPct val="100000"/>
              </a:lnSpc>
              <a:buSzPct val="90000"/>
              <a:buFont typeface="+mj-lt"/>
              <a:buAutoNum type="alphaLcPeriod"/>
              <a:tabLst/>
              <a:defRPr/>
            </a:lvl2pPr>
            <a:lvl3pPr marL="760413" indent="-223838">
              <a:lnSpc>
                <a:spcPct val="100000"/>
              </a:lnSpc>
              <a:tabLst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G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F5E9E2C4-1C97-974A-8848-7C28BE3C3A2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2311" y="1814513"/>
            <a:ext cx="5276850" cy="44878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27612788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1322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7">
            <a:extLst>
              <a:ext uri="{FF2B5EF4-FFF2-40B4-BE49-F238E27FC236}">
                <a16:creationId xmlns:a16="http://schemas.microsoft.com/office/drawing/2014/main" id="{97D07DB7-7D51-724B-BE5C-77B45E5DB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3"/>
            <a:ext cx="10747374" cy="1139825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BG" dirty="0"/>
          </a:p>
        </p:txBody>
      </p:sp>
    </p:spTree>
    <p:extLst>
      <p:ext uri="{BB962C8B-B14F-4D97-AF65-F5344CB8AC3E}">
        <p14:creationId xmlns:p14="http://schemas.microsoft.com/office/powerpoint/2010/main" val="34110035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 descr="Background pattern&#10;&#10;Description automatically generated">
            <a:extLst>
              <a:ext uri="{FF2B5EF4-FFF2-40B4-BE49-F238E27FC236}">
                <a16:creationId xmlns:a16="http://schemas.microsoft.com/office/drawing/2014/main" id="{0AA7A2AD-DF24-40EA-A53E-3386C69575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1763375" cy="6858000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2321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6">
            <a:extLst>
              <a:ext uri="{FF2B5EF4-FFF2-40B4-BE49-F238E27FC236}">
                <a16:creationId xmlns:a16="http://schemas.microsoft.com/office/drawing/2014/main" id="{A87FB057-54B4-994F-8BD3-467867D7B63A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722312" y="5273378"/>
            <a:ext cx="5278437" cy="441487"/>
          </a:xfrm>
          <a:prstGeom prst="rect">
            <a:avLst/>
          </a:prstGeom>
          <a:ln algn="ctr"/>
        </p:spPr>
        <p:txBody>
          <a:bodyPr lIns="0" tIns="0" rIns="0" bIns="0" anchor="ctr" anchorCtr="0"/>
          <a:lstStyle>
            <a:lvl1pPr marL="0" indent="0">
              <a:buClrTx/>
              <a:buFontTx/>
              <a:buNone/>
              <a:defRPr sz="2400" i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r>
              <a:rPr lang="en-US" dirty="0"/>
              <a:t>Subtitle Goes Here</a:t>
            </a: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A41AE411-511D-8146-8417-A7B559E66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0641" y="3736975"/>
            <a:ext cx="5261778" cy="1383817"/>
          </a:xfrm>
          <a:prstGeom prst="rect">
            <a:avLst/>
          </a:prstGeom>
        </p:spPr>
        <p:txBody>
          <a:bodyPr vert="horz" lIns="0" tIns="108000" rIns="0" bIns="0" anchor="t" anchorCtr="0">
            <a:noAutofit/>
          </a:bodyPr>
          <a:lstStyle>
            <a:lvl1pPr>
              <a:lnSpc>
                <a:spcPts val="3600"/>
              </a:lnSpc>
              <a:defRPr sz="4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Up to</a:t>
            </a:r>
            <a:br>
              <a:rPr lang="en-GB" dirty="0"/>
            </a:br>
            <a:r>
              <a:rPr lang="en-GB" dirty="0"/>
              <a:t>Three </a:t>
            </a:r>
            <a:br>
              <a:rPr lang="en-GB" dirty="0"/>
            </a:br>
            <a:r>
              <a:rPr lang="en-GB" dirty="0"/>
              <a:t>Lines</a:t>
            </a:r>
            <a:endParaRPr lang="en-BG" dirty="0"/>
          </a:p>
        </p:txBody>
      </p:sp>
      <p:sp>
        <p:nvSpPr>
          <p:cNvPr id="38" name="Picture Placeholder 37">
            <a:extLst>
              <a:ext uri="{FF2B5EF4-FFF2-40B4-BE49-F238E27FC236}">
                <a16:creationId xmlns:a16="http://schemas.microsoft.com/office/drawing/2014/main" id="{2BF545EA-B47D-46DC-9BE9-5554CA1726A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207452" y="0"/>
            <a:ext cx="10984548" cy="6858000"/>
          </a:xfrm>
          <a:custGeom>
            <a:avLst/>
            <a:gdLst>
              <a:gd name="connsiteX0" fmla="*/ 0 w 10984548"/>
              <a:gd name="connsiteY0" fmla="*/ 0 h 6851650"/>
              <a:gd name="connsiteX1" fmla="*/ 6617336 w 10984548"/>
              <a:gd name="connsiteY1" fmla="*/ 0 h 6851650"/>
              <a:gd name="connsiteX2" fmla="*/ 10717848 w 10984548"/>
              <a:gd name="connsiteY2" fmla="*/ 0 h 6851650"/>
              <a:gd name="connsiteX3" fmla="*/ 10961688 w 10984548"/>
              <a:gd name="connsiteY3" fmla="*/ 0 h 6851650"/>
              <a:gd name="connsiteX4" fmla="*/ 10984548 w 10984548"/>
              <a:gd name="connsiteY4" fmla="*/ 0 h 6851650"/>
              <a:gd name="connsiteX5" fmla="*/ 10984548 w 10984548"/>
              <a:gd name="connsiteY5" fmla="*/ 2921000 h 6851650"/>
              <a:gd name="connsiteX6" fmla="*/ 10984548 w 10984548"/>
              <a:gd name="connsiteY6" fmla="*/ 6851650 h 6851650"/>
              <a:gd name="connsiteX7" fmla="*/ 10961688 w 10984548"/>
              <a:gd name="connsiteY7" fmla="*/ 6851650 h 6851650"/>
              <a:gd name="connsiteX8" fmla="*/ 10717848 w 10984548"/>
              <a:gd name="connsiteY8" fmla="*/ 6851650 h 6851650"/>
              <a:gd name="connsiteX9" fmla="*/ 10529888 w 10984548"/>
              <a:gd name="connsiteY9" fmla="*/ 6851650 h 6851650"/>
              <a:gd name="connsiteX10" fmla="*/ 10529888 w 10984548"/>
              <a:gd name="connsiteY10" fmla="*/ 6270625 h 6851650"/>
              <a:gd name="connsiteX11" fmla="*/ 10529888 w 10984548"/>
              <a:gd name="connsiteY11" fmla="*/ 6238875 h 6851650"/>
              <a:gd name="connsiteX12" fmla="*/ 10523538 w 10984548"/>
              <a:gd name="connsiteY12" fmla="*/ 6203950 h 6851650"/>
              <a:gd name="connsiteX13" fmla="*/ 10514013 w 10984548"/>
              <a:gd name="connsiteY13" fmla="*/ 6172200 h 6851650"/>
              <a:gd name="connsiteX14" fmla="*/ 10501313 w 10984548"/>
              <a:gd name="connsiteY14" fmla="*/ 6140450 h 6851650"/>
              <a:gd name="connsiteX15" fmla="*/ 10479088 w 10984548"/>
              <a:gd name="connsiteY15" fmla="*/ 6099175 h 6851650"/>
              <a:gd name="connsiteX16" fmla="*/ 10453688 w 10984548"/>
              <a:gd name="connsiteY16" fmla="*/ 6061075 h 6851650"/>
              <a:gd name="connsiteX17" fmla="*/ 10421938 w 10984548"/>
              <a:gd name="connsiteY17" fmla="*/ 6029325 h 6851650"/>
              <a:gd name="connsiteX18" fmla="*/ 10387013 w 10984548"/>
              <a:gd name="connsiteY18" fmla="*/ 6000750 h 6851650"/>
              <a:gd name="connsiteX19" fmla="*/ 10347325 w 10984548"/>
              <a:gd name="connsiteY19" fmla="*/ 5975350 h 6851650"/>
              <a:gd name="connsiteX20" fmla="*/ 10309225 w 10984548"/>
              <a:gd name="connsiteY20" fmla="*/ 5949950 h 6851650"/>
              <a:gd name="connsiteX21" fmla="*/ 10226675 w 10984548"/>
              <a:gd name="connsiteY21" fmla="*/ 5902325 h 6851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984548" h="6851650">
                <a:moveTo>
                  <a:pt x="0" y="0"/>
                </a:moveTo>
                <a:lnTo>
                  <a:pt x="6617336" y="0"/>
                </a:lnTo>
                <a:lnTo>
                  <a:pt x="10717848" y="0"/>
                </a:lnTo>
                <a:lnTo>
                  <a:pt x="10961688" y="0"/>
                </a:lnTo>
                <a:lnTo>
                  <a:pt x="10984548" y="0"/>
                </a:lnTo>
                <a:lnTo>
                  <a:pt x="10984548" y="2921000"/>
                </a:lnTo>
                <a:lnTo>
                  <a:pt x="10984548" y="6851650"/>
                </a:lnTo>
                <a:lnTo>
                  <a:pt x="10961688" y="6851650"/>
                </a:lnTo>
                <a:lnTo>
                  <a:pt x="10717848" y="6851650"/>
                </a:lnTo>
                <a:lnTo>
                  <a:pt x="10529888" y="6851650"/>
                </a:lnTo>
                <a:lnTo>
                  <a:pt x="10529888" y="6270625"/>
                </a:lnTo>
                <a:lnTo>
                  <a:pt x="10529888" y="6238875"/>
                </a:lnTo>
                <a:lnTo>
                  <a:pt x="10523538" y="6203950"/>
                </a:lnTo>
                <a:lnTo>
                  <a:pt x="10514013" y="6172200"/>
                </a:lnTo>
                <a:lnTo>
                  <a:pt x="10501313" y="6140450"/>
                </a:lnTo>
                <a:lnTo>
                  <a:pt x="10479088" y="6099175"/>
                </a:lnTo>
                <a:lnTo>
                  <a:pt x="10453688" y="6061075"/>
                </a:lnTo>
                <a:lnTo>
                  <a:pt x="10421938" y="6029325"/>
                </a:lnTo>
                <a:lnTo>
                  <a:pt x="10387013" y="6000750"/>
                </a:lnTo>
                <a:lnTo>
                  <a:pt x="10347325" y="5975350"/>
                </a:lnTo>
                <a:lnTo>
                  <a:pt x="10309225" y="5949950"/>
                </a:lnTo>
                <a:lnTo>
                  <a:pt x="10226675" y="5902325"/>
                </a:lnTo>
                <a:close/>
              </a:path>
            </a:pathLst>
          </a:custGeom>
          <a:solidFill>
            <a:schemeClr val="bg2"/>
          </a:solidFill>
        </p:spPr>
        <p:txBody>
          <a:bodyPr vert="horz" wrap="square" lIns="0" tIns="0" rIns="0" bIns="0" rtlCol="0" anchor="t" anchorCtr="0">
            <a:noAutofit/>
          </a:bodyPr>
          <a:lstStyle>
            <a:lvl1pPr marL="0" indent="0" algn="r">
              <a:buNone/>
              <a:defRPr lang="id-ID" b="1">
                <a:solidFill>
                  <a:srgbClr val="F162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algn="r"/>
            <a:r>
              <a:rPr lang="en-US"/>
              <a:t>Click icon to add picture</a:t>
            </a:r>
            <a:endParaRPr lang="id-ID" dirty="0"/>
          </a:p>
        </p:txBody>
      </p:sp>
      <p:pic>
        <p:nvPicPr>
          <p:cNvPr id="12" name="Picture 3">
            <a:extLst>
              <a:ext uri="{FF2B5EF4-FFF2-40B4-BE49-F238E27FC236}">
                <a16:creationId xmlns:a16="http://schemas.microsoft.com/office/drawing/2014/main" id="{5FFB1DD7-A134-4800-A20B-F8CB2D63D44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426315" y="3272915"/>
            <a:ext cx="1342800" cy="311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848587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no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6744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098376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1CB98D92-10C3-0C4B-8531-7B51301E38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600" y="1813033"/>
            <a:ext cx="7101188" cy="440195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72052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7">
            <a:extLst>
              <a:ext uri="{FF2B5EF4-FFF2-40B4-BE49-F238E27FC236}">
                <a16:creationId xmlns:a16="http://schemas.microsoft.com/office/drawing/2014/main" id="{97D07DB7-7D51-724B-BE5C-77B45E5DB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3"/>
            <a:ext cx="7102475" cy="1139825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BG" dirty="0"/>
          </a:p>
        </p:txBody>
      </p:sp>
    </p:spTree>
    <p:extLst>
      <p:ext uri="{BB962C8B-B14F-4D97-AF65-F5344CB8AC3E}">
        <p14:creationId xmlns:p14="http://schemas.microsoft.com/office/powerpoint/2010/main" val="391525483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3561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>
            <a:extLst>
              <a:ext uri="{FF2B5EF4-FFF2-40B4-BE49-F238E27FC236}">
                <a16:creationId xmlns:a16="http://schemas.microsoft.com/office/drawing/2014/main" id="{A1E54A24-0A79-4645-95BB-872276B99F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3600" y="538163"/>
            <a:ext cx="10746088" cy="1139825"/>
          </a:xfrm>
        </p:spPr>
        <p:txBody>
          <a:bodyPr vert="horz"/>
          <a:lstStyle/>
          <a:p>
            <a:r>
              <a:rPr lang="en-GB" dirty="0"/>
              <a:t>Click to edit Master title style</a:t>
            </a:r>
            <a:br>
              <a:rPr lang="en-GB" dirty="0"/>
            </a:br>
            <a:r>
              <a:rPr lang="en-GB" dirty="0"/>
              <a:t>Two Column Style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6E974D47-3A79-8246-9C85-B26A11235A2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2311" y="1814513"/>
            <a:ext cx="5276850" cy="44878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G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54A7AE83-B9C1-1D4E-9469-01C3D28EF60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92838" y="1814513"/>
            <a:ext cx="5276850" cy="44878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97196392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13829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3B4A0B0-544B-4680-B496-7634409EEF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600" y="538163"/>
            <a:ext cx="10746088" cy="1139825"/>
          </a:xfrm>
        </p:spPr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1124C9F4-9F1E-5D4F-8CC2-BAA0F34CFB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2311" y="1814513"/>
            <a:ext cx="3459164" cy="44878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G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B28A142A-B0F7-C544-B3CD-9A6546563D7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58709" y="1814513"/>
            <a:ext cx="3459164" cy="44878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G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F8E67F24-9CF1-9547-BD5E-84589B31B4E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10527" y="1814513"/>
            <a:ext cx="3459161" cy="44878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G" dirty="0"/>
          </a:p>
        </p:txBody>
      </p:sp>
    </p:spTree>
    <p:extLst>
      <p:ext uri="{BB962C8B-B14F-4D97-AF65-F5344CB8AC3E}">
        <p14:creationId xmlns:p14="http://schemas.microsoft.com/office/powerpoint/2010/main" val="134658392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82930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3B29C63-2AD6-4DE5-B0A2-CB6E5C4AD9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600" y="538163"/>
            <a:ext cx="10746088" cy="1139825"/>
          </a:xfrm>
        </p:spPr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D7A8F6A1-E4E4-4646-933F-3032F97511D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2313" y="1814513"/>
            <a:ext cx="2528887" cy="4487862"/>
          </a:xfrm>
        </p:spPr>
        <p:txBody>
          <a:bodyPr/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/>
            </a:lvl1pPr>
            <a:lvl2pPr marL="225425" indent="0">
              <a:buNone/>
              <a:defRPr/>
            </a:lvl2pPr>
            <a:lvl3pPr marL="447675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A3A8B205-3828-1A4D-9D4B-309BF2F3FFF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46660" y="1814513"/>
            <a:ext cx="2554090" cy="4487862"/>
          </a:xfrm>
        </p:spPr>
        <p:txBody>
          <a:bodyPr/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/>
            </a:lvl1pPr>
            <a:lvl2pPr marL="225425" indent="0">
              <a:buNone/>
              <a:defRPr/>
            </a:lvl2pPr>
            <a:lvl3pPr marL="447675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B4C483FE-70FF-7041-9119-FDE32D70CA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71006" y="1814513"/>
            <a:ext cx="2554090" cy="4487862"/>
          </a:xfrm>
        </p:spPr>
        <p:txBody>
          <a:bodyPr/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/>
            </a:lvl1pPr>
            <a:lvl2pPr marL="225425" indent="0">
              <a:buNone/>
              <a:defRPr/>
            </a:lvl2pPr>
            <a:lvl3pPr marL="447675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F6086923-DD39-8546-9401-95099CDCAA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23633" y="1814513"/>
            <a:ext cx="2554090" cy="4487862"/>
          </a:xfrm>
        </p:spPr>
        <p:txBody>
          <a:bodyPr/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/>
            </a:lvl1pPr>
            <a:lvl2pPr marL="225425" indent="0">
              <a:buNone/>
              <a:defRPr/>
            </a:lvl2pPr>
            <a:lvl3pPr marL="447675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4683824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69951F-ED4C-C940-B5BF-D5511A5CD9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3"/>
            <a:ext cx="8010525" cy="909637"/>
          </a:xfrm>
        </p:spPr>
        <p:txBody>
          <a:bodyPr tIns="1080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BG" dirty="0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5F93B13-79C7-D043-BA6B-61F781D9B5F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2313" y="1677988"/>
            <a:ext cx="5278437" cy="455611"/>
          </a:xfrm>
        </p:spPr>
        <p:txBody>
          <a:bodyPr/>
          <a:lstStyle>
            <a:lvl1pPr marL="0" indent="0">
              <a:buNone/>
              <a:defRPr b="1" i="0" spc="-1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Topic 1</a:t>
            </a:r>
            <a:endParaRPr lang="en-BG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CC55D09-8538-334E-A1E1-71B22D8027B5}"/>
              </a:ext>
            </a:extLst>
          </p:cNvPr>
          <p:cNvSpPr txBox="1"/>
          <p:nvPr userDrawn="1"/>
        </p:nvSpPr>
        <p:spPr>
          <a:xfrm>
            <a:off x="2151529" y="1882588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BG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B67CE013-E7C8-B849-A3FC-A0574A8A9A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7283" y="1677988"/>
            <a:ext cx="5278437" cy="455611"/>
          </a:xfrm>
        </p:spPr>
        <p:txBody>
          <a:bodyPr/>
          <a:lstStyle>
            <a:lvl1pPr marL="0" indent="0">
              <a:buNone/>
              <a:defRPr b="1" i="0" spc="-1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Topic 2</a:t>
            </a:r>
            <a:endParaRPr lang="en-BG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D148B8A9-EDCF-FE41-AFC9-FAEC5D5C7BB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3900" y="2362200"/>
            <a:ext cx="5276850" cy="38750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G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EB97B37-7995-DB4F-ACD9-6F4ED7D8061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82020" y="2362200"/>
            <a:ext cx="5276850" cy="38750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27919454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69951F-ED4C-C940-B5BF-D5511A5CD9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3"/>
            <a:ext cx="7102475" cy="909637"/>
          </a:xfrm>
        </p:spPr>
        <p:txBody>
          <a:bodyPr tIns="1080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BG" dirty="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14E6BE96-7B0A-F94A-B96E-1C7E0D03F31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2313" y="2226366"/>
            <a:ext cx="3459162" cy="4010922"/>
          </a:xfrm>
        </p:spPr>
        <p:txBody>
          <a:bodyPr tIns="36000"/>
          <a:lstStyle>
            <a:lvl1pPr marL="0" indent="0">
              <a:lnSpc>
                <a:spcPct val="120000"/>
              </a:lnSpc>
              <a:buNone/>
              <a:defRPr sz="2000" b="0" i="0" spc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ontrary to popular belief, Lorem Ipsum is not simply random text. It has roots in a piece of classical Latin literature from 45 BC, making it over 2000 years old.</a:t>
            </a:r>
            <a:endParaRPr lang="en-BG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9F9D9998-0CE0-0441-A69C-96949640553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9275" y="2226366"/>
            <a:ext cx="3467099" cy="4010922"/>
          </a:xfrm>
        </p:spPr>
        <p:txBody>
          <a:bodyPr tIns="36000"/>
          <a:lstStyle>
            <a:lvl1pPr marL="0" indent="0">
              <a:lnSpc>
                <a:spcPct val="120000"/>
              </a:lnSpc>
              <a:buNone/>
              <a:defRPr sz="2000" b="0" i="0" spc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ontrary to popular belief, Lorem Ipsum is not simply random text. It has roots in a piece of classical Latin literature from 45 BC, making it over 2000 years old</a:t>
            </a:r>
            <a:endParaRPr lang="en-BG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4C25D13-53AB-804E-8F48-9FEEE4C8F85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02588" y="2226366"/>
            <a:ext cx="3467099" cy="4010922"/>
          </a:xfrm>
        </p:spPr>
        <p:txBody>
          <a:bodyPr tIns="36000"/>
          <a:lstStyle>
            <a:lvl1pPr marL="0" indent="0">
              <a:lnSpc>
                <a:spcPct val="120000"/>
              </a:lnSpc>
              <a:buNone/>
              <a:defRPr sz="2000" b="0" i="0" spc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ontrary to popular belief, Lorem Ipsum is not simply random text. It has roots in a piece of classical Latin literature from 45 BC, making it over 2000 years old.</a:t>
            </a:r>
            <a:endParaRPr lang="en-BG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726DDAF-094D-974B-82E0-4E14EC03BAE4}"/>
              </a:ext>
            </a:extLst>
          </p:cNvPr>
          <p:cNvSpPr txBox="1"/>
          <p:nvPr userDrawn="1"/>
        </p:nvSpPr>
        <p:spPr>
          <a:xfrm>
            <a:off x="2624866" y="1947134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291E0E34-AD4F-0F47-AF74-1B26AAD2B2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2313" y="1568658"/>
            <a:ext cx="7102475" cy="474150"/>
          </a:xfrm>
        </p:spPr>
        <p:txBody>
          <a:bodyPr/>
          <a:lstStyle>
            <a:lvl1pPr marL="0" indent="0">
              <a:buNone/>
              <a:defRPr b="0" i="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 err="1"/>
              <a:t>Subheadline</a:t>
            </a:r>
            <a:endParaRPr lang="en-BG" dirty="0"/>
          </a:p>
        </p:txBody>
      </p:sp>
    </p:spTree>
    <p:extLst>
      <p:ext uri="{BB962C8B-B14F-4D97-AF65-F5344CB8AC3E}">
        <p14:creationId xmlns:p14="http://schemas.microsoft.com/office/powerpoint/2010/main" val="413731295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69951F-ED4C-C940-B5BF-D5511A5CD9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2314" y="538163"/>
            <a:ext cx="7869894" cy="1139825"/>
          </a:xfrm>
        </p:spPr>
        <p:txBody>
          <a:bodyPr tIns="108000"/>
          <a:lstStyle/>
          <a:p>
            <a:r>
              <a:rPr lang="en-GB" dirty="0"/>
              <a:t>Simple Bullet List</a:t>
            </a:r>
            <a:endParaRPr lang="en-BG" dirty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F2E8E46A-3A9D-D741-84CB-B29020082EA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3900" y="1814513"/>
            <a:ext cx="7868308" cy="44878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G" dirty="0"/>
          </a:p>
        </p:txBody>
      </p:sp>
    </p:spTree>
    <p:extLst>
      <p:ext uri="{BB962C8B-B14F-4D97-AF65-F5344CB8AC3E}">
        <p14:creationId xmlns:p14="http://schemas.microsoft.com/office/powerpoint/2010/main" val="113674627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text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487D29E-9CF3-5846-A0A6-ACDFF18C4847}"/>
              </a:ext>
            </a:extLst>
          </p:cNvPr>
          <p:cNvSpPr/>
          <p:nvPr userDrawn="1"/>
        </p:nvSpPr>
        <p:spPr>
          <a:xfrm>
            <a:off x="6191250" y="0"/>
            <a:ext cx="6000750" cy="6858000"/>
          </a:xfrm>
          <a:prstGeom prst="rect">
            <a:avLst/>
          </a:prstGeom>
          <a:solidFill>
            <a:schemeClr val="tx2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G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6817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>
            <a:extLst>
              <a:ext uri="{FF2B5EF4-FFF2-40B4-BE49-F238E27FC236}">
                <a16:creationId xmlns:a16="http://schemas.microsoft.com/office/drawing/2014/main" id="{46A8BB2B-AE4D-BB44-A1A2-79A9676470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3"/>
            <a:ext cx="5278437" cy="1139825"/>
          </a:xfrm>
        </p:spPr>
        <p:txBody>
          <a:bodyPr tIns="1080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BG" dirty="0"/>
          </a:p>
        </p:txBody>
      </p:sp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C0BB56D3-44B0-46C4-805C-637BCD9D58C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1725" y="0"/>
            <a:ext cx="6010275" cy="6858000"/>
          </a:xfrm>
          <a:prstGeom prst="rect">
            <a:avLst/>
          </a:prstGeom>
        </p:spPr>
      </p:pic>
      <p:pic>
        <p:nvPicPr>
          <p:cNvPr id="12" name="Picture 2">
            <a:extLst>
              <a:ext uri="{FF2B5EF4-FFF2-40B4-BE49-F238E27FC236}">
                <a16:creationId xmlns:a16="http://schemas.microsoft.com/office/drawing/2014/main" id="{7B56C2E7-8311-4B5A-A6E3-5CD91A5A796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494075" y="6453499"/>
            <a:ext cx="939600" cy="217948"/>
          </a:xfrm>
          <a:prstGeom prst="rect">
            <a:avLst/>
          </a:prstGeom>
        </p:spPr>
      </p:pic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C6A8276B-0F06-604A-9D22-AA9DC5D23B0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2313" y="1808922"/>
            <a:ext cx="5278437" cy="442836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1D9C409-6129-524A-A370-83CF6434D125}"/>
              </a:ext>
            </a:extLst>
          </p:cNvPr>
          <p:cNvSpPr txBox="1"/>
          <p:nvPr userDrawn="1"/>
        </p:nvSpPr>
        <p:spPr>
          <a:xfrm>
            <a:off x="2833124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</a:t>
            </a:r>
            <a:r>
              <a:rPr lang="bg-BG" sz="600" b="0" spc="0" baseline="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en-US" sz="600" b="0" spc="0" baseline="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600" b="0" i="0" spc="0" baseline="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67068077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text half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6D0A292-1CC7-4725-955D-6F0D47183E18}"/>
              </a:ext>
            </a:extLst>
          </p:cNvPr>
          <p:cNvSpPr/>
          <p:nvPr userDrawn="1"/>
        </p:nvSpPr>
        <p:spPr>
          <a:xfrm>
            <a:off x="6178550" y="0"/>
            <a:ext cx="6013450" cy="6858000"/>
          </a:xfrm>
          <a:prstGeom prst="rect">
            <a:avLst/>
          </a:prstGeom>
          <a:solidFill>
            <a:schemeClr val="accent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G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48689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348BA764-5690-C74C-98C8-5AD362BFC8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3"/>
            <a:ext cx="5278437" cy="1139825"/>
          </a:xfrm>
        </p:spPr>
        <p:txBody>
          <a:bodyPr tIns="1080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BG" dirty="0"/>
          </a:p>
        </p:txBody>
      </p:sp>
      <p:pic>
        <p:nvPicPr>
          <p:cNvPr id="8" name="Picture 7" descr="Background pattern&#10;&#10;Description automatically generated">
            <a:extLst>
              <a:ext uri="{FF2B5EF4-FFF2-40B4-BE49-F238E27FC236}">
                <a16:creationId xmlns:a16="http://schemas.microsoft.com/office/drawing/2014/main" id="{A13562EE-EF99-40E8-B245-0897306FCB8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1725" y="0"/>
            <a:ext cx="6010275" cy="6858000"/>
          </a:xfrm>
          <a:prstGeom prst="rect">
            <a:avLst/>
          </a:prstGeom>
        </p:spPr>
      </p:pic>
      <p:pic>
        <p:nvPicPr>
          <p:cNvPr id="19" name="Picture 2">
            <a:extLst>
              <a:ext uri="{FF2B5EF4-FFF2-40B4-BE49-F238E27FC236}">
                <a16:creationId xmlns:a16="http://schemas.microsoft.com/office/drawing/2014/main" id="{1B465833-A1E4-4E81-8B46-84ECCC6972B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494075" y="6453499"/>
            <a:ext cx="939600" cy="217948"/>
          </a:xfrm>
          <a:prstGeom prst="rect">
            <a:avLst/>
          </a:prstGeom>
        </p:spPr>
      </p:pic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89818020-1C0A-6F44-B4B9-C417A1D0F2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2313" y="1808922"/>
            <a:ext cx="5278437" cy="442836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5982FC7-44A3-9448-8DC9-32DD283EE71D}"/>
              </a:ext>
            </a:extLst>
          </p:cNvPr>
          <p:cNvSpPr txBox="1"/>
          <p:nvPr userDrawn="1"/>
        </p:nvSpPr>
        <p:spPr>
          <a:xfrm>
            <a:off x="2833124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</a:t>
            </a:r>
            <a:r>
              <a:rPr lang="bg-BG" sz="600" b="0" spc="0" baseline="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en-US" sz="600" b="0" spc="0" baseline="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600" b="0" i="0" spc="0" baseline="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3116491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9A3E233-1134-EA42-BC96-EE2143559B7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G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2" name="Picture 21" descr="Background pattern&#10;&#10;Description automatically generated">
            <a:extLst>
              <a:ext uri="{FF2B5EF4-FFF2-40B4-BE49-F238E27FC236}">
                <a16:creationId xmlns:a16="http://schemas.microsoft.com/office/drawing/2014/main" id="{0AA7A2AD-DF24-40EA-A53E-3386C69575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1763375" cy="6858000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0078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3">
            <a:extLst>
              <a:ext uri="{FF2B5EF4-FFF2-40B4-BE49-F238E27FC236}">
                <a16:creationId xmlns:a16="http://schemas.microsoft.com/office/drawing/2014/main" id="{A41AE411-511D-8146-8417-A7B559E66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0641" y="3736975"/>
            <a:ext cx="5261778" cy="1383817"/>
          </a:xfrm>
          <a:prstGeom prst="rect">
            <a:avLst/>
          </a:prstGeom>
        </p:spPr>
        <p:txBody>
          <a:bodyPr vert="horz" lIns="0" tIns="108000" rIns="0" bIns="0" anchor="t" anchorCtr="0">
            <a:noAutofit/>
          </a:bodyPr>
          <a:lstStyle>
            <a:lvl1pPr>
              <a:lnSpc>
                <a:spcPts val="3600"/>
              </a:lnSpc>
              <a:defRPr sz="4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Up to</a:t>
            </a:r>
            <a:br>
              <a:rPr lang="en-GB" dirty="0"/>
            </a:br>
            <a:r>
              <a:rPr lang="en-GB" dirty="0"/>
              <a:t>Three </a:t>
            </a:r>
            <a:br>
              <a:rPr lang="en-GB" dirty="0"/>
            </a:br>
            <a:r>
              <a:rPr lang="en-GB" dirty="0"/>
              <a:t>Lines</a:t>
            </a:r>
            <a:endParaRPr lang="en-BG" dirty="0"/>
          </a:p>
        </p:txBody>
      </p:sp>
      <p:pic>
        <p:nvPicPr>
          <p:cNvPr id="12" name="Picture 3">
            <a:extLst>
              <a:ext uri="{FF2B5EF4-FFF2-40B4-BE49-F238E27FC236}">
                <a16:creationId xmlns:a16="http://schemas.microsoft.com/office/drawing/2014/main" id="{5FFB1DD7-A134-4800-A20B-F8CB2D63D44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426315" y="3272915"/>
            <a:ext cx="1342800" cy="311474"/>
          </a:xfrm>
          <a:prstGeom prst="rect">
            <a:avLst/>
          </a:prstGeom>
        </p:spPr>
      </p:pic>
      <p:sp>
        <p:nvSpPr>
          <p:cNvPr id="8" name="Rectangle 6">
            <a:extLst>
              <a:ext uri="{FF2B5EF4-FFF2-40B4-BE49-F238E27FC236}">
                <a16:creationId xmlns:a16="http://schemas.microsoft.com/office/drawing/2014/main" id="{EC20BF15-B521-4443-B82F-AD15675E6FEF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722312" y="5273378"/>
            <a:ext cx="5278437" cy="441487"/>
          </a:xfrm>
          <a:prstGeom prst="rect">
            <a:avLst/>
          </a:prstGeom>
          <a:ln algn="ctr"/>
        </p:spPr>
        <p:txBody>
          <a:bodyPr lIns="0" tIns="0" rIns="0" bIns="0" anchor="ctr" anchorCtr="0"/>
          <a:lstStyle>
            <a:lvl1pPr marL="0" indent="0">
              <a:buClrTx/>
              <a:buFontTx/>
              <a:buNone/>
              <a:defRPr sz="2400" i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r>
              <a:rPr lang="en-US" dirty="0"/>
              <a:t>Sub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95278084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8726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348BA764-5690-C74C-98C8-5AD362BFC8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3"/>
            <a:ext cx="5278437" cy="1139825"/>
          </a:xfrm>
        </p:spPr>
        <p:txBody>
          <a:bodyPr tIns="1080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BG" dirty="0"/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D214D3DB-DB34-F441-B966-C041056B089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198748" y="0"/>
            <a:ext cx="5993252" cy="6858000"/>
          </a:xfrm>
          <a:solidFill>
            <a:schemeClr val="bg2"/>
          </a:solidFill>
        </p:spPr>
        <p:txBody>
          <a:bodyPr vert="horz" lIns="91440" tIns="72000" rIns="91440" bIns="756000" rtlCol="0" anchor="ctr">
            <a:noAutofit/>
          </a:bodyPr>
          <a:lstStyle>
            <a:lvl1pPr marL="0" indent="0">
              <a:buNone/>
              <a:defRPr lang="en-US" sz="18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5B3F9C52-3A71-4524-8B14-37E73BA412E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494075" y="6453499"/>
            <a:ext cx="939600" cy="217948"/>
          </a:xfrm>
          <a:prstGeom prst="rect">
            <a:avLst/>
          </a:prstGeom>
        </p:spPr>
      </p:pic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798BE631-707E-324E-A381-F3D99D052E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2313" y="1808922"/>
            <a:ext cx="5278437" cy="442836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8CB971A-E2FD-954D-BF76-66E98685F3A4}"/>
              </a:ext>
            </a:extLst>
          </p:cNvPr>
          <p:cNvSpPr txBox="1"/>
          <p:nvPr userDrawn="1"/>
        </p:nvSpPr>
        <p:spPr>
          <a:xfrm>
            <a:off x="2833124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</a:t>
            </a:r>
            <a:r>
              <a:rPr lang="bg-BG" sz="600" b="0" spc="0" baseline="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en-US" sz="600" b="0" spc="0" baseline="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600" b="0" i="0" spc="0" baseline="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04846299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Slid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0044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348BA764-5690-C74C-98C8-5AD362BFC8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91252" y="538163"/>
            <a:ext cx="5278437" cy="1139825"/>
          </a:xfrm>
        </p:spPr>
        <p:txBody>
          <a:bodyPr tIns="1080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BG" dirty="0"/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D214D3DB-DB34-F441-B966-C041056B089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978085" cy="6858000"/>
          </a:xfrm>
          <a:solidFill>
            <a:schemeClr val="bg2"/>
          </a:solidFill>
        </p:spPr>
        <p:txBody>
          <a:bodyPr vert="horz" lIns="91440" tIns="72000" rIns="91440" bIns="756000" rtlCol="0" anchor="ctr">
            <a:noAutofit/>
          </a:bodyPr>
          <a:lstStyle>
            <a:lvl1pPr marL="0" indent="0">
              <a:buNone/>
              <a:defRPr lang="en-US" sz="18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CCB16D7C-13E7-8F44-B567-E0CB454B81BD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0" i="0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0" i="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6D956066-0822-7C4E-B1F5-A5FF044796A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88767" y="1808922"/>
            <a:ext cx="5278437" cy="442836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48103B8-912B-6840-91F6-51424D8F16B3}"/>
              </a:ext>
            </a:extLst>
          </p:cNvPr>
          <p:cNvSpPr txBox="1"/>
          <p:nvPr userDrawn="1"/>
        </p:nvSpPr>
        <p:spPr>
          <a:xfrm>
            <a:off x="6178550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</a:t>
            </a:r>
            <a:r>
              <a:rPr lang="bg-BG" sz="600" b="0" spc="0" baseline="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en-US" sz="600" b="0" spc="0" baseline="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600" b="0" i="0" spc="0" baseline="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24043554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 descr="Background pattern&#10;&#10;Description automatically generated">
            <a:extLst>
              <a:ext uri="{FF2B5EF4-FFF2-40B4-BE49-F238E27FC236}">
                <a16:creationId xmlns:a16="http://schemas.microsoft.com/office/drawing/2014/main" id="{6C946DA6-3C38-45FB-884C-BC8FEC522B9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010275" cy="6858000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1393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aphic 10">
            <a:extLst>
              <a:ext uri="{FF2B5EF4-FFF2-40B4-BE49-F238E27FC236}">
                <a16:creationId xmlns:a16="http://schemas.microsoft.com/office/drawing/2014/main" id="{3A6E4564-0AFD-394C-86C5-9468022082D4}"/>
              </a:ext>
            </a:extLst>
          </p:cNvPr>
          <p:cNvGrpSpPr/>
          <p:nvPr userDrawn="1"/>
        </p:nvGrpSpPr>
        <p:grpSpPr>
          <a:xfrm>
            <a:off x="6178550" y="538163"/>
            <a:ext cx="2554288" cy="1464044"/>
            <a:chOff x="7355176" y="1247511"/>
            <a:chExt cx="2101340" cy="1204427"/>
          </a:xfrm>
        </p:grpSpPr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4E94DD7A-9189-4548-B3D7-D71AED474814}"/>
                </a:ext>
              </a:extLst>
            </p:cNvPr>
            <p:cNvSpPr/>
            <p:nvPr/>
          </p:nvSpPr>
          <p:spPr>
            <a:xfrm>
              <a:off x="7352293" y="1247383"/>
              <a:ext cx="999261" cy="1205383"/>
            </a:xfrm>
            <a:custGeom>
              <a:avLst/>
              <a:gdLst>
                <a:gd name="connsiteX0" fmla="*/ 501072 w 999261"/>
                <a:gd name="connsiteY0" fmla="*/ 128 h 1205383"/>
                <a:gd name="connsiteX1" fmla="*/ 9 w 999261"/>
                <a:gd name="connsiteY1" fmla="*/ 494325 h 1205383"/>
                <a:gd name="connsiteX2" fmla="*/ 495324 w 999261"/>
                <a:gd name="connsiteY2" fmla="*/ 994258 h 1205383"/>
                <a:gd name="connsiteX3" fmla="*/ 495324 w 999261"/>
                <a:gd name="connsiteY3" fmla="*/ 1205383 h 1205383"/>
                <a:gd name="connsiteX4" fmla="*/ 838884 w 999261"/>
                <a:gd name="connsiteY4" fmla="*/ 862408 h 1205383"/>
                <a:gd name="connsiteX5" fmla="*/ 867242 w 999261"/>
                <a:gd name="connsiteY5" fmla="*/ 160023 h 1205383"/>
                <a:gd name="connsiteX6" fmla="*/ 501072 w 999261"/>
                <a:gd name="connsiteY6" fmla="*/ 0 h 1205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9261" h="1205383">
                  <a:moveTo>
                    <a:pt x="501072" y="128"/>
                  </a:moveTo>
                  <a:cubicBezTo>
                    <a:pt x="225931" y="-1459"/>
                    <a:pt x="1599" y="219805"/>
                    <a:pt x="9" y="494325"/>
                  </a:cubicBezTo>
                  <a:cubicBezTo>
                    <a:pt x="-1582" y="768845"/>
                    <a:pt x="220183" y="992671"/>
                    <a:pt x="495324" y="994258"/>
                  </a:cubicBezTo>
                  <a:lnTo>
                    <a:pt x="495324" y="1205383"/>
                  </a:lnTo>
                  <a:lnTo>
                    <a:pt x="838884" y="862408"/>
                  </a:lnTo>
                  <a:cubicBezTo>
                    <a:pt x="1041098" y="676263"/>
                    <a:pt x="1053808" y="361793"/>
                    <a:pt x="867242" y="160023"/>
                  </a:cubicBezTo>
                  <a:cubicBezTo>
                    <a:pt x="772905" y="58016"/>
                    <a:pt x="640170" y="0"/>
                    <a:pt x="501072" y="0"/>
                  </a:cubicBezTo>
                  <a:close/>
                </a:path>
              </a:pathLst>
            </a:custGeom>
            <a:solidFill>
              <a:schemeClr val="accent5"/>
            </a:solidFill>
            <a:ln w="6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BG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CDEC9423-D3E3-AC4E-8565-1B8DA4881327}"/>
                </a:ext>
              </a:extLst>
            </p:cNvPr>
            <p:cNvSpPr/>
            <p:nvPr/>
          </p:nvSpPr>
          <p:spPr>
            <a:xfrm>
              <a:off x="8460710" y="1247606"/>
              <a:ext cx="996380" cy="1205223"/>
            </a:xfrm>
            <a:custGeom>
              <a:avLst/>
              <a:gdLst>
                <a:gd name="connsiteX0" fmla="*/ 996380 w 996380"/>
                <a:gd name="connsiteY0" fmla="*/ 497033 h 1205223"/>
                <a:gd name="connsiteX1" fmla="*/ 498126 w 996380"/>
                <a:gd name="connsiteY1" fmla="*/ 0 h 1205223"/>
                <a:gd name="connsiteX2" fmla="*/ 0 w 996380"/>
                <a:gd name="connsiteY2" fmla="*/ 497103 h 1205223"/>
                <a:gd name="connsiteX3" fmla="*/ 492378 w 996380"/>
                <a:gd name="connsiteY3" fmla="*/ 994098 h 1205223"/>
                <a:gd name="connsiteX4" fmla="*/ 492378 w 996380"/>
                <a:gd name="connsiteY4" fmla="*/ 1205224 h 1205223"/>
                <a:gd name="connsiteX5" fmla="*/ 836001 w 996380"/>
                <a:gd name="connsiteY5" fmla="*/ 862440 h 1205223"/>
                <a:gd name="connsiteX6" fmla="*/ 996380 w 996380"/>
                <a:gd name="connsiteY6" fmla="*/ 497033 h 120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6380" h="1205223">
                  <a:moveTo>
                    <a:pt x="996380" y="497033"/>
                  </a:moveTo>
                  <a:cubicBezTo>
                    <a:pt x="996380" y="222513"/>
                    <a:pt x="773280" y="-19"/>
                    <a:pt x="498126" y="0"/>
                  </a:cubicBezTo>
                  <a:cubicBezTo>
                    <a:pt x="223036" y="19"/>
                    <a:pt x="0" y="222577"/>
                    <a:pt x="0" y="497103"/>
                  </a:cubicBezTo>
                  <a:cubicBezTo>
                    <a:pt x="0" y="769348"/>
                    <a:pt x="219523" y="990925"/>
                    <a:pt x="492378" y="994098"/>
                  </a:cubicBezTo>
                  <a:lnTo>
                    <a:pt x="492378" y="1205224"/>
                  </a:lnTo>
                  <a:lnTo>
                    <a:pt x="836001" y="862440"/>
                  </a:lnTo>
                  <a:cubicBezTo>
                    <a:pt x="938386" y="768399"/>
                    <a:pt x="996508" y="635861"/>
                    <a:pt x="996380" y="497033"/>
                  </a:cubicBezTo>
                  <a:close/>
                </a:path>
              </a:pathLst>
            </a:custGeom>
            <a:solidFill>
              <a:schemeClr val="accent5"/>
            </a:solidFill>
            <a:ln w="6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BG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0589BE5-6A57-8F4D-9D8C-C52E1A56647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78551" y="2133601"/>
            <a:ext cx="5291138" cy="3201988"/>
          </a:xfrm>
        </p:spPr>
        <p:txBody>
          <a:bodyPr tIns="108000"/>
          <a:lstStyle>
            <a:lvl1pPr marL="0" indent="0">
              <a:lnSpc>
                <a:spcPts val="3600"/>
              </a:lnSpc>
              <a:buNone/>
              <a:defRPr sz="4000" b="1" spc="-1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Quote Slide, Enter Quote Here.”</a:t>
            </a:r>
          </a:p>
          <a:p>
            <a:pPr lvl="0"/>
            <a:endParaRPr lang="en-GB" dirty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615FBD6B-2193-5748-97C2-9D65081F37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78551" y="5584345"/>
            <a:ext cx="5297852" cy="414323"/>
          </a:xfrm>
        </p:spPr>
        <p:txBody>
          <a:bodyPr tIns="36000" anchor="ctr" anchorCtr="0">
            <a:noAutofit/>
          </a:bodyPr>
          <a:lstStyle>
            <a:lvl1pPr marL="0" indent="0" algn="l">
              <a:lnSpc>
                <a:spcPts val="1800"/>
              </a:lnSpc>
              <a:buNone/>
              <a:defRPr sz="2000" b="1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3F18DBE1-9B92-D54B-A7D7-214D918E2C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78551" y="5998670"/>
            <a:ext cx="5297852" cy="321052"/>
          </a:xfrm>
        </p:spPr>
        <p:txBody>
          <a:bodyPr tIns="72000" anchor="t">
            <a:noAutofit/>
          </a:bodyPr>
          <a:lstStyle>
            <a:lvl1pPr marL="0" indent="0" algn="l">
              <a:lnSpc>
                <a:spcPts val="1800"/>
              </a:lnSpc>
              <a:buNone/>
              <a:defRPr sz="1800" b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795217E5-E444-2F42-BDF3-093FC00C6F30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 dirty="0">
              <a:solidFill>
                <a:schemeClr val="bg1">
                  <a:alpha val="7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1190F6A3-E932-A24A-9953-B1E4E911E0F0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5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2" name="Picture 2">
            <a:extLst>
              <a:ext uri="{FF2B5EF4-FFF2-40B4-BE49-F238E27FC236}">
                <a16:creationId xmlns:a16="http://schemas.microsoft.com/office/drawing/2014/main" id="{D10AF193-AB1A-43AD-A66E-2CD2F8674A5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494075" y="6453499"/>
            <a:ext cx="939600" cy="217948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FB7BD70-621C-CC49-8746-9DC52C4D35B9}"/>
              </a:ext>
            </a:extLst>
          </p:cNvPr>
          <p:cNvSpPr txBox="1"/>
          <p:nvPr userDrawn="1"/>
        </p:nvSpPr>
        <p:spPr>
          <a:xfrm>
            <a:off x="6178550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</a:t>
            </a:r>
            <a:r>
              <a:rPr lang="bg-BG" sz="600" b="0" spc="0" baseline="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en-US" sz="600" b="0" spc="0" baseline="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600" b="0" i="0" spc="0" baseline="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8412912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with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E4A2CE8B-6C7B-204B-A553-FDFA7E79572A}"/>
              </a:ext>
            </a:extLst>
          </p:cNvPr>
          <p:cNvSpPr/>
          <p:nvPr userDrawn="1"/>
        </p:nvSpPr>
        <p:spPr>
          <a:xfrm>
            <a:off x="6120852" y="0"/>
            <a:ext cx="6071148" cy="6858000"/>
          </a:xfrm>
          <a:prstGeom prst="rect">
            <a:avLst/>
          </a:prstGeom>
          <a:solidFill>
            <a:schemeClr val="tx2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G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85EE20A4-56CA-6E43-ADB3-9DCE7A1E5A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72655" t="20588" r="1" b="52733"/>
          <a:stretch/>
        </p:blipFill>
        <p:spPr>
          <a:xfrm>
            <a:off x="6094088" y="0"/>
            <a:ext cx="6109382" cy="6858000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9281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9" imgH="349" progId="TCLayout.ActiveDocument.1">
                  <p:embed/>
                </p:oleObj>
              </mc:Choice>
              <mc:Fallback>
                <p:oleObj name="think-cell Slide" r:id="rId5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icture Placeholder 13">
            <a:extLst>
              <a:ext uri="{FF2B5EF4-FFF2-40B4-BE49-F238E27FC236}">
                <a16:creationId xmlns:a16="http://schemas.microsoft.com/office/drawing/2014/main" id="{FE70C55F-FA1C-E44F-B935-846720A2D16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109382" cy="6858000"/>
          </a:xfrm>
          <a:solidFill>
            <a:schemeClr val="bg2"/>
          </a:solidFill>
        </p:spPr>
        <p:txBody>
          <a:bodyPr vert="horz" lIns="91440" tIns="72000" rIns="91440" bIns="756000" rtlCol="0" anchor="ctr">
            <a:noAutofit/>
          </a:bodyPr>
          <a:lstStyle>
            <a:lvl1pPr marL="0" indent="0">
              <a:buNone/>
              <a:defRPr lang="en-US" sz="18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8508F250-2EEB-4943-96B7-BE0C29A50BD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78421" y="2133601"/>
            <a:ext cx="4891268" cy="3201988"/>
          </a:xfrm>
        </p:spPr>
        <p:txBody>
          <a:bodyPr tIns="108000"/>
          <a:lstStyle>
            <a:lvl1pPr marL="0" indent="0">
              <a:lnSpc>
                <a:spcPts val="3600"/>
              </a:lnSpc>
              <a:buNone/>
              <a:defRPr sz="4000" b="1" spc="-1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Quote Slide, Enter Quote Here.”</a:t>
            </a:r>
          </a:p>
          <a:p>
            <a:pPr lvl="0"/>
            <a:endParaRPr lang="en-GB" dirty="0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72E0827B-6C4F-7648-A12E-9F41C14AEE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78421" y="5571495"/>
            <a:ext cx="4891267" cy="434001"/>
          </a:xfrm>
        </p:spPr>
        <p:txBody>
          <a:bodyPr tIns="36000" anchor="ctr" anchorCtr="0">
            <a:noAutofit/>
          </a:bodyPr>
          <a:lstStyle>
            <a:lvl1pPr marL="0" indent="0" algn="l">
              <a:lnSpc>
                <a:spcPts val="1800"/>
              </a:lnSpc>
              <a:buNone/>
              <a:defRPr sz="20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E20D15AE-8D5B-1F4F-8BD1-2990633572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78421" y="6027738"/>
            <a:ext cx="4891267" cy="315387"/>
          </a:xfrm>
        </p:spPr>
        <p:txBody>
          <a:bodyPr tIns="72000" anchor="t">
            <a:noAutofit/>
          </a:bodyPr>
          <a:lstStyle>
            <a:lvl1pPr marL="0" indent="0" algn="l">
              <a:lnSpc>
                <a:spcPts val="1800"/>
              </a:lnSpc>
              <a:buNone/>
              <a:defRPr sz="1800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CD079D76-E4BD-2D4D-B1D5-65D76184811D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 dirty="0">
              <a:solidFill>
                <a:schemeClr val="bg1">
                  <a:alpha val="7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Slide Number Placeholder 5">
            <a:extLst>
              <a:ext uri="{FF2B5EF4-FFF2-40B4-BE49-F238E27FC236}">
                <a16:creationId xmlns:a16="http://schemas.microsoft.com/office/drawing/2014/main" id="{0C2DE4C0-ADB1-9043-9820-BFB73CFF1A39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5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 dirty="0">
              <a:solidFill>
                <a:schemeClr val="bg1">
                  <a:alpha val="7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Picture 2">
            <a:extLst>
              <a:ext uri="{FF2B5EF4-FFF2-40B4-BE49-F238E27FC236}">
                <a16:creationId xmlns:a16="http://schemas.microsoft.com/office/drawing/2014/main" id="{C636DF12-45AE-4AC3-BCE8-67EFD22A6F6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94075" y="6453499"/>
            <a:ext cx="939600" cy="217948"/>
          </a:xfrm>
          <a:prstGeom prst="rect">
            <a:avLst/>
          </a:prstGeom>
        </p:spPr>
      </p:pic>
      <p:grpSp>
        <p:nvGrpSpPr>
          <p:cNvPr id="28" name="Graphic 10">
            <a:extLst>
              <a:ext uri="{FF2B5EF4-FFF2-40B4-BE49-F238E27FC236}">
                <a16:creationId xmlns:a16="http://schemas.microsoft.com/office/drawing/2014/main" id="{526FF24D-AF59-ED4F-9818-10A139444EF4}"/>
              </a:ext>
            </a:extLst>
          </p:cNvPr>
          <p:cNvGrpSpPr/>
          <p:nvPr userDrawn="1"/>
        </p:nvGrpSpPr>
        <p:grpSpPr>
          <a:xfrm>
            <a:off x="6362700" y="538163"/>
            <a:ext cx="2554288" cy="1464044"/>
            <a:chOff x="7355176" y="1247511"/>
            <a:chExt cx="2101340" cy="1204427"/>
          </a:xfrm>
        </p:grpSpPr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DAC17586-BD49-2B4B-9E87-06EDC1BCCFD0}"/>
                </a:ext>
              </a:extLst>
            </p:cNvPr>
            <p:cNvSpPr/>
            <p:nvPr/>
          </p:nvSpPr>
          <p:spPr>
            <a:xfrm>
              <a:off x="7352293" y="1247383"/>
              <a:ext cx="999261" cy="1205383"/>
            </a:xfrm>
            <a:custGeom>
              <a:avLst/>
              <a:gdLst>
                <a:gd name="connsiteX0" fmla="*/ 501072 w 999261"/>
                <a:gd name="connsiteY0" fmla="*/ 128 h 1205383"/>
                <a:gd name="connsiteX1" fmla="*/ 9 w 999261"/>
                <a:gd name="connsiteY1" fmla="*/ 494325 h 1205383"/>
                <a:gd name="connsiteX2" fmla="*/ 495324 w 999261"/>
                <a:gd name="connsiteY2" fmla="*/ 994258 h 1205383"/>
                <a:gd name="connsiteX3" fmla="*/ 495324 w 999261"/>
                <a:gd name="connsiteY3" fmla="*/ 1205383 h 1205383"/>
                <a:gd name="connsiteX4" fmla="*/ 838884 w 999261"/>
                <a:gd name="connsiteY4" fmla="*/ 862408 h 1205383"/>
                <a:gd name="connsiteX5" fmla="*/ 867242 w 999261"/>
                <a:gd name="connsiteY5" fmla="*/ 160023 h 1205383"/>
                <a:gd name="connsiteX6" fmla="*/ 501072 w 999261"/>
                <a:gd name="connsiteY6" fmla="*/ 0 h 1205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9261" h="1205383">
                  <a:moveTo>
                    <a:pt x="501072" y="128"/>
                  </a:moveTo>
                  <a:cubicBezTo>
                    <a:pt x="225931" y="-1459"/>
                    <a:pt x="1599" y="219805"/>
                    <a:pt x="9" y="494325"/>
                  </a:cubicBezTo>
                  <a:cubicBezTo>
                    <a:pt x="-1582" y="768845"/>
                    <a:pt x="220183" y="992671"/>
                    <a:pt x="495324" y="994258"/>
                  </a:cubicBezTo>
                  <a:lnTo>
                    <a:pt x="495324" y="1205383"/>
                  </a:lnTo>
                  <a:lnTo>
                    <a:pt x="838884" y="862408"/>
                  </a:lnTo>
                  <a:cubicBezTo>
                    <a:pt x="1041098" y="676263"/>
                    <a:pt x="1053808" y="361793"/>
                    <a:pt x="867242" y="160023"/>
                  </a:cubicBezTo>
                  <a:cubicBezTo>
                    <a:pt x="772905" y="58016"/>
                    <a:pt x="640170" y="0"/>
                    <a:pt x="501072" y="0"/>
                  </a:cubicBezTo>
                  <a:close/>
                </a:path>
              </a:pathLst>
            </a:custGeom>
            <a:solidFill>
              <a:schemeClr val="accent5"/>
            </a:solidFill>
            <a:ln w="6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BG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154DE6BB-DC4F-3445-BADE-6D76CC839465}"/>
                </a:ext>
              </a:extLst>
            </p:cNvPr>
            <p:cNvSpPr/>
            <p:nvPr/>
          </p:nvSpPr>
          <p:spPr>
            <a:xfrm>
              <a:off x="8460710" y="1247606"/>
              <a:ext cx="996380" cy="1205223"/>
            </a:xfrm>
            <a:custGeom>
              <a:avLst/>
              <a:gdLst>
                <a:gd name="connsiteX0" fmla="*/ 996380 w 996380"/>
                <a:gd name="connsiteY0" fmla="*/ 497033 h 1205223"/>
                <a:gd name="connsiteX1" fmla="*/ 498126 w 996380"/>
                <a:gd name="connsiteY1" fmla="*/ 0 h 1205223"/>
                <a:gd name="connsiteX2" fmla="*/ 0 w 996380"/>
                <a:gd name="connsiteY2" fmla="*/ 497103 h 1205223"/>
                <a:gd name="connsiteX3" fmla="*/ 492378 w 996380"/>
                <a:gd name="connsiteY3" fmla="*/ 994098 h 1205223"/>
                <a:gd name="connsiteX4" fmla="*/ 492378 w 996380"/>
                <a:gd name="connsiteY4" fmla="*/ 1205224 h 1205223"/>
                <a:gd name="connsiteX5" fmla="*/ 836001 w 996380"/>
                <a:gd name="connsiteY5" fmla="*/ 862440 h 1205223"/>
                <a:gd name="connsiteX6" fmla="*/ 996380 w 996380"/>
                <a:gd name="connsiteY6" fmla="*/ 497033 h 120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6380" h="1205223">
                  <a:moveTo>
                    <a:pt x="996380" y="497033"/>
                  </a:moveTo>
                  <a:cubicBezTo>
                    <a:pt x="996380" y="222513"/>
                    <a:pt x="773280" y="-19"/>
                    <a:pt x="498126" y="0"/>
                  </a:cubicBezTo>
                  <a:cubicBezTo>
                    <a:pt x="223036" y="19"/>
                    <a:pt x="0" y="222577"/>
                    <a:pt x="0" y="497103"/>
                  </a:cubicBezTo>
                  <a:cubicBezTo>
                    <a:pt x="0" y="769348"/>
                    <a:pt x="219523" y="990925"/>
                    <a:pt x="492378" y="994098"/>
                  </a:cubicBezTo>
                  <a:lnTo>
                    <a:pt x="492378" y="1205224"/>
                  </a:lnTo>
                  <a:lnTo>
                    <a:pt x="836001" y="862440"/>
                  </a:lnTo>
                  <a:cubicBezTo>
                    <a:pt x="938386" y="768399"/>
                    <a:pt x="996508" y="635861"/>
                    <a:pt x="996380" y="497033"/>
                  </a:cubicBezTo>
                  <a:close/>
                </a:path>
              </a:pathLst>
            </a:custGeom>
            <a:solidFill>
              <a:schemeClr val="accent5"/>
            </a:solidFill>
            <a:ln w="6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BG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A8F910D9-9A7F-3F44-B03C-E6ECB047A817}"/>
              </a:ext>
            </a:extLst>
          </p:cNvPr>
          <p:cNvSpPr txBox="1"/>
          <p:nvPr userDrawn="1"/>
        </p:nvSpPr>
        <p:spPr>
          <a:xfrm>
            <a:off x="6578421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</a:t>
            </a:r>
            <a:r>
              <a:rPr lang="bg-BG" sz="600" b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en-US" sz="600" b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600" b="0" i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1763484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with pi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84872374-72A7-7A45-ABE4-B1FF923979E4}"/>
              </a:ext>
            </a:extLst>
          </p:cNvPr>
          <p:cNvSpPr/>
          <p:nvPr userDrawn="1"/>
        </p:nvSpPr>
        <p:spPr>
          <a:xfrm>
            <a:off x="6109382" y="0"/>
            <a:ext cx="6082618" cy="6858000"/>
          </a:xfrm>
          <a:prstGeom prst="rect">
            <a:avLst/>
          </a:prstGeom>
          <a:solidFill>
            <a:schemeClr val="accent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G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3233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Graphic 20">
            <a:extLst>
              <a:ext uri="{FF2B5EF4-FFF2-40B4-BE49-F238E27FC236}">
                <a16:creationId xmlns:a16="http://schemas.microsoft.com/office/drawing/2014/main" id="{26208EE9-BB53-7349-8881-495E3560D3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74813" t="20149" r="-101" b="55188"/>
          <a:stretch/>
        </p:blipFill>
        <p:spPr>
          <a:xfrm>
            <a:off x="6109382" y="0"/>
            <a:ext cx="6112136" cy="6858000"/>
          </a:xfrm>
          <a:prstGeom prst="rect">
            <a:avLst/>
          </a:prstGeom>
        </p:spPr>
      </p:pic>
      <p:sp>
        <p:nvSpPr>
          <p:cNvPr id="11" name="Picture Placeholder 13">
            <a:extLst>
              <a:ext uri="{FF2B5EF4-FFF2-40B4-BE49-F238E27FC236}">
                <a16:creationId xmlns:a16="http://schemas.microsoft.com/office/drawing/2014/main" id="{FE70C55F-FA1C-E44F-B935-846720A2D16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109382" cy="6858000"/>
          </a:xfrm>
          <a:solidFill>
            <a:schemeClr val="bg2"/>
          </a:solidFill>
        </p:spPr>
        <p:txBody>
          <a:bodyPr vert="horz" lIns="91440" tIns="72000" rIns="91440" bIns="756000" rtlCol="0" anchor="ctr">
            <a:noAutofit/>
          </a:bodyPr>
          <a:lstStyle>
            <a:lvl1pPr marL="0" indent="0">
              <a:buNone/>
              <a:defRPr lang="en-US" sz="18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FE956ECD-98A7-BB48-AD4E-41CD7BA5A6AA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 dirty="0">
              <a:solidFill>
                <a:schemeClr val="bg1">
                  <a:alpha val="7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341D0F29-2B64-464A-AF00-6DC7474EA211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5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 dirty="0">
              <a:solidFill>
                <a:schemeClr val="bg1">
                  <a:alpha val="7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7" name="Picture 2">
            <a:extLst>
              <a:ext uri="{FF2B5EF4-FFF2-40B4-BE49-F238E27FC236}">
                <a16:creationId xmlns:a16="http://schemas.microsoft.com/office/drawing/2014/main" id="{CAF5AAA1-BBCB-40FE-8286-4581A3B9842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94075" y="6453499"/>
            <a:ext cx="939600" cy="217948"/>
          </a:xfrm>
          <a:prstGeom prst="rect">
            <a:avLst/>
          </a:prstGeom>
        </p:spPr>
      </p:pic>
      <p:grpSp>
        <p:nvGrpSpPr>
          <p:cNvPr id="23" name="Graphic 10">
            <a:extLst>
              <a:ext uri="{FF2B5EF4-FFF2-40B4-BE49-F238E27FC236}">
                <a16:creationId xmlns:a16="http://schemas.microsoft.com/office/drawing/2014/main" id="{5B7617CC-6FDB-EA47-A30B-F937416FF4A3}"/>
              </a:ext>
            </a:extLst>
          </p:cNvPr>
          <p:cNvGrpSpPr/>
          <p:nvPr userDrawn="1"/>
        </p:nvGrpSpPr>
        <p:grpSpPr>
          <a:xfrm>
            <a:off x="6362700" y="538163"/>
            <a:ext cx="2554288" cy="1464044"/>
            <a:chOff x="7355176" y="1247511"/>
            <a:chExt cx="2101340" cy="1204427"/>
          </a:xfrm>
        </p:grpSpPr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102DEC17-749A-5745-A3C8-8A951CB042CD}"/>
                </a:ext>
              </a:extLst>
            </p:cNvPr>
            <p:cNvSpPr/>
            <p:nvPr/>
          </p:nvSpPr>
          <p:spPr>
            <a:xfrm>
              <a:off x="7352293" y="1247383"/>
              <a:ext cx="999261" cy="1205383"/>
            </a:xfrm>
            <a:custGeom>
              <a:avLst/>
              <a:gdLst>
                <a:gd name="connsiteX0" fmla="*/ 501072 w 999261"/>
                <a:gd name="connsiteY0" fmla="*/ 128 h 1205383"/>
                <a:gd name="connsiteX1" fmla="*/ 9 w 999261"/>
                <a:gd name="connsiteY1" fmla="*/ 494325 h 1205383"/>
                <a:gd name="connsiteX2" fmla="*/ 495324 w 999261"/>
                <a:gd name="connsiteY2" fmla="*/ 994258 h 1205383"/>
                <a:gd name="connsiteX3" fmla="*/ 495324 w 999261"/>
                <a:gd name="connsiteY3" fmla="*/ 1205383 h 1205383"/>
                <a:gd name="connsiteX4" fmla="*/ 838884 w 999261"/>
                <a:gd name="connsiteY4" fmla="*/ 862408 h 1205383"/>
                <a:gd name="connsiteX5" fmla="*/ 867242 w 999261"/>
                <a:gd name="connsiteY5" fmla="*/ 160023 h 1205383"/>
                <a:gd name="connsiteX6" fmla="*/ 501072 w 999261"/>
                <a:gd name="connsiteY6" fmla="*/ 0 h 1205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9261" h="1205383">
                  <a:moveTo>
                    <a:pt x="501072" y="128"/>
                  </a:moveTo>
                  <a:cubicBezTo>
                    <a:pt x="225931" y="-1459"/>
                    <a:pt x="1599" y="219805"/>
                    <a:pt x="9" y="494325"/>
                  </a:cubicBezTo>
                  <a:cubicBezTo>
                    <a:pt x="-1582" y="768845"/>
                    <a:pt x="220183" y="992671"/>
                    <a:pt x="495324" y="994258"/>
                  </a:cubicBezTo>
                  <a:lnTo>
                    <a:pt x="495324" y="1205383"/>
                  </a:lnTo>
                  <a:lnTo>
                    <a:pt x="838884" y="862408"/>
                  </a:lnTo>
                  <a:cubicBezTo>
                    <a:pt x="1041098" y="676263"/>
                    <a:pt x="1053808" y="361793"/>
                    <a:pt x="867242" y="160023"/>
                  </a:cubicBezTo>
                  <a:cubicBezTo>
                    <a:pt x="772905" y="58016"/>
                    <a:pt x="640170" y="0"/>
                    <a:pt x="501072" y="0"/>
                  </a:cubicBezTo>
                  <a:close/>
                </a:path>
              </a:pathLst>
            </a:custGeom>
            <a:solidFill>
              <a:srgbClr val="CDFFCA"/>
            </a:solidFill>
            <a:ln w="6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BG" dirty="0">
                <a:solidFill>
                  <a:srgbClr val="CDFFCA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0DCD6703-F5A1-2C43-8B04-5009508CED50}"/>
                </a:ext>
              </a:extLst>
            </p:cNvPr>
            <p:cNvSpPr/>
            <p:nvPr/>
          </p:nvSpPr>
          <p:spPr>
            <a:xfrm>
              <a:off x="8460710" y="1247606"/>
              <a:ext cx="996380" cy="1205223"/>
            </a:xfrm>
            <a:custGeom>
              <a:avLst/>
              <a:gdLst>
                <a:gd name="connsiteX0" fmla="*/ 996380 w 996380"/>
                <a:gd name="connsiteY0" fmla="*/ 497033 h 1205223"/>
                <a:gd name="connsiteX1" fmla="*/ 498126 w 996380"/>
                <a:gd name="connsiteY1" fmla="*/ 0 h 1205223"/>
                <a:gd name="connsiteX2" fmla="*/ 0 w 996380"/>
                <a:gd name="connsiteY2" fmla="*/ 497103 h 1205223"/>
                <a:gd name="connsiteX3" fmla="*/ 492378 w 996380"/>
                <a:gd name="connsiteY3" fmla="*/ 994098 h 1205223"/>
                <a:gd name="connsiteX4" fmla="*/ 492378 w 996380"/>
                <a:gd name="connsiteY4" fmla="*/ 1205224 h 1205223"/>
                <a:gd name="connsiteX5" fmla="*/ 836001 w 996380"/>
                <a:gd name="connsiteY5" fmla="*/ 862440 h 1205223"/>
                <a:gd name="connsiteX6" fmla="*/ 996380 w 996380"/>
                <a:gd name="connsiteY6" fmla="*/ 497033 h 120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6380" h="1205223">
                  <a:moveTo>
                    <a:pt x="996380" y="497033"/>
                  </a:moveTo>
                  <a:cubicBezTo>
                    <a:pt x="996380" y="222513"/>
                    <a:pt x="773280" y="-19"/>
                    <a:pt x="498126" y="0"/>
                  </a:cubicBezTo>
                  <a:cubicBezTo>
                    <a:pt x="223036" y="19"/>
                    <a:pt x="0" y="222577"/>
                    <a:pt x="0" y="497103"/>
                  </a:cubicBezTo>
                  <a:cubicBezTo>
                    <a:pt x="0" y="769348"/>
                    <a:pt x="219523" y="990925"/>
                    <a:pt x="492378" y="994098"/>
                  </a:cubicBezTo>
                  <a:lnTo>
                    <a:pt x="492378" y="1205224"/>
                  </a:lnTo>
                  <a:lnTo>
                    <a:pt x="836001" y="862440"/>
                  </a:lnTo>
                  <a:cubicBezTo>
                    <a:pt x="938386" y="768399"/>
                    <a:pt x="996508" y="635861"/>
                    <a:pt x="996380" y="497033"/>
                  </a:cubicBezTo>
                  <a:close/>
                </a:path>
              </a:pathLst>
            </a:custGeom>
            <a:solidFill>
              <a:srgbClr val="CDFFCA"/>
            </a:solidFill>
            <a:ln w="6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BG" dirty="0">
                <a:solidFill>
                  <a:srgbClr val="CDFFCA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575823E-4AE2-E44E-AE42-22F39C525D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78421" y="6027738"/>
            <a:ext cx="4891267" cy="315387"/>
          </a:xfrm>
        </p:spPr>
        <p:txBody>
          <a:bodyPr tIns="72000" anchor="t">
            <a:noAutofit/>
          </a:bodyPr>
          <a:lstStyle>
            <a:lvl1pPr marL="0" indent="0" algn="l">
              <a:lnSpc>
                <a:spcPts val="1800"/>
              </a:lnSpc>
              <a:buNone/>
              <a:defRPr sz="1800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817E525C-8A92-6542-B9AF-1EE4C1D86C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78421" y="2133601"/>
            <a:ext cx="4891268" cy="3201988"/>
          </a:xfrm>
        </p:spPr>
        <p:txBody>
          <a:bodyPr tIns="108000"/>
          <a:lstStyle>
            <a:lvl1pPr marL="0" indent="0">
              <a:lnSpc>
                <a:spcPts val="3600"/>
              </a:lnSpc>
              <a:buNone/>
              <a:defRPr sz="4000" b="1" spc="-1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Quote Slide, Enter Quote Here.”</a:t>
            </a:r>
          </a:p>
          <a:p>
            <a:pPr lvl="0"/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85BA675-54BD-2446-AC6B-564132E6194A}"/>
              </a:ext>
            </a:extLst>
          </p:cNvPr>
          <p:cNvSpPr txBox="1"/>
          <p:nvPr userDrawn="1"/>
        </p:nvSpPr>
        <p:spPr>
          <a:xfrm>
            <a:off x="6578421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</a:t>
            </a:r>
            <a:r>
              <a:rPr lang="bg-BG" sz="600" b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en-US" sz="600" b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600" b="0" i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A0A3F1FD-95F0-2948-9D5D-3521866F62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78421" y="5571495"/>
            <a:ext cx="4891267" cy="434001"/>
          </a:xfrm>
        </p:spPr>
        <p:txBody>
          <a:bodyPr tIns="36000" anchor="ctr" anchorCtr="0">
            <a:noAutofit/>
          </a:bodyPr>
          <a:lstStyle>
            <a:lvl1pPr marL="0" indent="0" algn="l">
              <a:lnSpc>
                <a:spcPts val="1800"/>
              </a:lnSpc>
              <a:buNone/>
              <a:defRPr sz="20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424467116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 lef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E4A2CE8B-6C7B-204B-A553-FDFA7E79572A}"/>
              </a:ext>
            </a:extLst>
          </p:cNvPr>
          <p:cNvSpPr/>
          <p:nvPr userDrawn="1"/>
        </p:nvSpPr>
        <p:spPr>
          <a:xfrm>
            <a:off x="6120852" y="0"/>
            <a:ext cx="6071148" cy="6858000"/>
          </a:xfrm>
          <a:prstGeom prst="rect">
            <a:avLst/>
          </a:prstGeom>
          <a:solidFill>
            <a:schemeClr val="tx2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G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85EE20A4-56CA-6E43-ADB3-9DCE7A1E5A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72655" t="20588" r="1" b="52733"/>
          <a:stretch/>
        </p:blipFill>
        <p:spPr>
          <a:xfrm>
            <a:off x="6094088" y="0"/>
            <a:ext cx="6109382" cy="6858000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42355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9" imgH="349" progId="TCLayout.ActiveDocument.1">
                  <p:embed/>
                </p:oleObj>
              </mc:Choice>
              <mc:Fallback>
                <p:oleObj name="think-cell Slide" r:id="rId5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icture Placeholder 13">
            <a:extLst>
              <a:ext uri="{FF2B5EF4-FFF2-40B4-BE49-F238E27FC236}">
                <a16:creationId xmlns:a16="http://schemas.microsoft.com/office/drawing/2014/main" id="{FE70C55F-FA1C-E44F-B935-846720A2D16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109382" cy="6858000"/>
          </a:xfrm>
          <a:solidFill>
            <a:schemeClr val="bg2"/>
          </a:solidFill>
        </p:spPr>
        <p:txBody>
          <a:bodyPr vert="horz" lIns="91440" tIns="72000" rIns="91440" bIns="756000" rtlCol="0" anchor="ctr">
            <a:noAutofit/>
          </a:bodyPr>
          <a:lstStyle>
            <a:lvl1pPr marL="0" indent="0">
              <a:buNone/>
              <a:defRPr lang="en-US" sz="18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CD079D76-E4BD-2D4D-B1D5-65D76184811D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 dirty="0">
              <a:solidFill>
                <a:schemeClr val="bg1">
                  <a:alpha val="7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Slide Number Placeholder 5">
            <a:extLst>
              <a:ext uri="{FF2B5EF4-FFF2-40B4-BE49-F238E27FC236}">
                <a16:creationId xmlns:a16="http://schemas.microsoft.com/office/drawing/2014/main" id="{0C2DE4C0-ADB1-9043-9820-BFB73CFF1A39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5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 dirty="0">
              <a:solidFill>
                <a:schemeClr val="bg1">
                  <a:alpha val="7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A2A3EF89-F6E9-9840-89E6-BE9E0BFAA4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6040" y="538163"/>
            <a:ext cx="5278437" cy="1139825"/>
          </a:xfrm>
        </p:spPr>
        <p:txBody>
          <a:bodyPr tIns="108000"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BG" dirty="0"/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B4F3B5D7-63F6-45DB-9D4A-EC1359B26D2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94075" y="6453499"/>
            <a:ext cx="939600" cy="217948"/>
          </a:xfrm>
          <a:prstGeom prst="rect">
            <a:avLst/>
          </a:prstGeom>
        </p:spPr>
      </p:pic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F7733DFD-694E-F241-959B-4ECECFC79FC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69362" y="1808922"/>
            <a:ext cx="5278437" cy="4428366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4F1FFA8-2867-0248-8EF4-6A5194F83596}"/>
              </a:ext>
            </a:extLst>
          </p:cNvPr>
          <p:cNvSpPr txBox="1"/>
          <p:nvPr userDrawn="1"/>
        </p:nvSpPr>
        <p:spPr>
          <a:xfrm>
            <a:off x="6578421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</a:t>
            </a:r>
            <a:r>
              <a:rPr lang="bg-BG" sz="600" b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en-US" sz="600" b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600" b="0" i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21564039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 lef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84872374-72A7-7A45-ABE4-B1FF923979E4}"/>
              </a:ext>
            </a:extLst>
          </p:cNvPr>
          <p:cNvSpPr/>
          <p:nvPr userDrawn="1"/>
        </p:nvSpPr>
        <p:spPr>
          <a:xfrm>
            <a:off x="6109382" y="0"/>
            <a:ext cx="6082618" cy="6858000"/>
          </a:xfrm>
          <a:prstGeom prst="rect">
            <a:avLst/>
          </a:prstGeom>
          <a:solidFill>
            <a:schemeClr val="accent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G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9296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Graphic 20">
            <a:extLst>
              <a:ext uri="{FF2B5EF4-FFF2-40B4-BE49-F238E27FC236}">
                <a16:creationId xmlns:a16="http://schemas.microsoft.com/office/drawing/2014/main" id="{26208EE9-BB53-7349-8881-495E3560D3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74813" t="20149" r="-101" b="55188"/>
          <a:stretch/>
        </p:blipFill>
        <p:spPr>
          <a:xfrm>
            <a:off x="6109382" y="0"/>
            <a:ext cx="6112136" cy="6858000"/>
          </a:xfrm>
          <a:prstGeom prst="rect">
            <a:avLst/>
          </a:prstGeom>
        </p:spPr>
      </p:pic>
      <p:sp>
        <p:nvSpPr>
          <p:cNvPr id="11" name="Picture Placeholder 13">
            <a:extLst>
              <a:ext uri="{FF2B5EF4-FFF2-40B4-BE49-F238E27FC236}">
                <a16:creationId xmlns:a16="http://schemas.microsoft.com/office/drawing/2014/main" id="{FE70C55F-FA1C-E44F-B935-846720A2D16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109382" cy="6858000"/>
          </a:xfrm>
          <a:solidFill>
            <a:schemeClr val="bg2"/>
          </a:solidFill>
        </p:spPr>
        <p:txBody>
          <a:bodyPr vert="horz" lIns="91440" tIns="72000" rIns="91440" bIns="756000" rtlCol="0" anchor="ctr">
            <a:noAutofit/>
          </a:bodyPr>
          <a:lstStyle>
            <a:lvl1pPr marL="0" indent="0">
              <a:buNone/>
              <a:defRPr lang="en-US" sz="18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FE956ECD-98A7-BB48-AD4E-41CD7BA5A6AA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 dirty="0">
              <a:solidFill>
                <a:schemeClr val="bg1">
                  <a:alpha val="7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341D0F29-2B64-464A-AF00-6DC7474EA211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5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 dirty="0">
              <a:solidFill>
                <a:schemeClr val="bg1">
                  <a:alpha val="7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823030AB-527D-41D3-A380-69546129EA4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94075" y="6453499"/>
            <a:ext cx="939600" cy="217948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5D344CE0-7DAB-974C-B074-078E7E3A1B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6040" y="538163"/>
            <a:ext cx="5278437" cy="1139825"/>
          </a:xfrm>
        </p:spPr>
        <p:txBody>
          <a:bodyPr tIns="108000"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BG" dirty="0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95DD517E-D7CF-5244-9611-DFBB12E8B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69362" y="1808922"/>
            <a:ext cx="5278437" cy="4428366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7CDCB1F-F122-444B-B4CB-C09A4C407C91}"/>
              </a:ext>
            </a:extLst>
          </p:cNvPr>
          <p:cNvSpPr txBox="1"/>
          <p:nvPr userDrawn="1"/>
        </p:nvSpPr>
        <p:spPr>
          <a:xfrm>
            <a:off x="6578421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</a:t>
            </a:r>
            <a:r>
              <a:rPr lang="bg-BG" sz="600" b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en-US" sz="600" b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600" b="0" i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13982773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full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051A2CE-B018-1047-87F9-DBEAEB88FD8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 w="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G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29505D2F-6538-C844-974A-0A2C06BA15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9936" t="68338" r="8601" b="650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60059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9" imgH="349" progId="TCLayout.ActiveDocument.1">
                  <p:embed/>
                </p:oleObj>
              </mc:Choice>
              <mc:Fallback>
                <p:oleObj name="think-cell Slide" r:id="rId5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aphic 10">
            <a:extLst>
              <a:ext uri="{FF2B5EF4-FFF2-40B4-BE49-F238E27FC236}">
                <a16:creationId xmlns:a16="http://schemas.microsoft.com/office/drawing/2014/main" id="{3A6E4564-0AFD-394C-86C5-9468022082D4}"/>
              </a:ext>
            </a:extLst>
          </p:cNvPr>
          <p:cNvGrpSpPr/>
          <p:nvPr userDrawn="1"/>
        </p:nvGrpSpPr>
        <p:grpSpPr>
          <a:xfrm>
            <a:off x="757914" y="758595"/>
            <a:ext cx="2493286" cy="1429079"/>
            <a:chOff x="7355176" y="1247511"/>
            <a:chExt cx="2101340" cy="1204427"/>
          </a:xfrm>
        </p:grpSpPr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4E94DD7A-9189-4548-B3D7-D71AED474814}"/>
                </a:ext>
              </a:extLst>
            </p:cNvPr>
            <p:cNvSpPr/>
            <p:nvPr/>
          </p:nvSpPr>
          <p:spPr>
            <a:xfrm>
              <a:off x="7352293" y="1247383"/>
              <a:ext cx="999261" cy="1205383"/>
            </a:xfrm>
            <a:custGeom>
              <a:avLst/>
              <a:gdLst>
                <a:gd name="connsiteX0" fmla="*/ 501072 w 999261"/>
                <a:gd name="connsiteY0" fmla="*/ 128 h 1205383"/>
                <a:gd name="connsiteX1" fmla="*/ 9 w 999261"/>
                <a:gd name="connsiteY1" fmla="*/ 494325 h 1205383"/>
                <a:gd name="connsiteX2" fmla="*/ 495324 w 999261"/>
                <a:gd name="connsiteY2" fmla="*/ 994258 h 1205383"/>
                <a:gd name="connsiteX3" fmla="*/ 495324 w 999261"/>
                <a:gd name="connsiteY3" fmla="*/ 1205383 h 1205383"/>
                <a:gd name="connsiteX4" fmla="*/ 838884 w 999261"/>
                <a:gd name="connsiteY4" fmla="*/ 862408 h 1205383"/>
                <a:gd name="connsiteX5" fmla="*/ 867242 w 999261"/>
                <a:gd name="connsiteY5" fmla="*/ 160023 h 1205383"/>
                <a:gd name="connsiteX6" fmla="*/ 501072 w 999261"/>
                <a:gd name="connsiteY6" fmla="*/ 0 h 1205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9261" h="1205383">
                  <a:moveTo>
                    <a:pt x="501072" y="128"/>
                  </a:moveTo>
                  <a:cubicBezTo>
                    <a:pt x="225931" y="-1459"/>
                    <a:pt x="1599" y="219805"/>
                    <a:pt x="9" y="494325"/>
                  </a:cubicBezTo>
                  <a:cubicBezTo>
                    <a:pt x="-1582" y="768845"/>
                    <a:pt x="220183" y="992671"/>
                    <a:pt x="495324" y="994258"/>
                  </a:cubicBezTo>
                  <a:lnTo>
                    <a:pt x="495324" y="1205383"/>
                  </a:lnTo>
                  <a:lnTo>
                    <a:pt x="838884" y="862408"/>
                  </a:lnTo>
                  <a:cubicBezTo>
                    <a:pt x="1041098" y="676263"/>
                    <a:pt x="1053808" y="361793"/>
                    <a:pt x="867242" y="160023"/>
                  </a:cubicBezTo>
                  <a:cubicBezTo>
                    <a:pt x="772905" y="58016"/>
                    <a:pt x="640170" y="0"/>
                    <a:pt x="501072" y="0"/>
                  </a:cubicBezTo>
                  <a:close/>
                </a:path>
              </a:pathLst>
            </a:custGeom>
            <a:solidFill>
              <a:schemeClr val="accent5"/>
            </a:solidFill>
            <a:ln w="6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BG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CDEC9423-D3E3-AC4E-8565-1B8DA4881327}"/>
                </a:ext>
              </a:extLst>
            </p:cNvPr>
            <p:cNvSpPr/>
            <p:nvPr/>
          </p:nvSpPr>
          <p:spPr>
            <a:xfrm>
              <a:off x="8460710" y="1247606"/>
              <a:ext cx="996380" cy="1205223"/>
            </a:xfrm>
            <a:custGeom>
              <a:avLst/>
              <a:gdLst>
                <a:gd name="connsiteX0" fmla="*/ 996380 w 996380"/>
                <a:gd name="connsiteY0" fmla="*/ 497033 h 1205223"/>
                <a:gd name="connsiteX1" fmla="*/ 498126 w 996380"/>
                <a:gd name="connsiteY1" fmla="*/ 0 h 1205223"/>
                <a:gd name="connsiteX2" fmla="*/ 0 w 996380"/>
                <a:gd name="connsiteY2" fmla="*/ 497103 h 1205223"/>
                <a:gd name="connsiteX3" fmla="*/ 492378 w 996380"/>
                <a:gd name="connsiteY3" fmla="*/ 994098 h 1205223"/>
                <a:gd name="connsiteX4" fmla="*/ 492378 w 996380"/>
                <a:gd name="connsiteY4" fmla="*/ 1205224 h 1205223"/>
                <a:gd name="connsiteX5" fmla="*/ 836001 w 996380"/>
                <a:gd name="connsiteY5" fmla="*/ 862440 h 1205223"/>
                <a:gd name="connsiteX6" fmla="*/ 996380 w 996380"/>
                <a:gd name="connsiteY6" fmla="*/ 497033 h 120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6380" h="1205223">
                  <a:moveTo>
                    <a:pt x="996380" y="497033"/>
                  </a:moveTo>
                  <a:cubicBezTo>
                    <a:pt x="996380" y="222513"/>
                    <a:pt x="773280" y="-19"/>
                    <a:pt x="498126" y="0"/>
                  </a:cubicBezTo>
                  <a:cubicBezTo>
                    <a:pt x="223036" y="19"/>
                    <a:pt x="0" y="222577"/>
                    <a:pt x="0" y="497103"/>
                  </a:cubicBezTo>
                  <a:cubicBezTo>
                    <a:pt x="0" y="769348"/>
                    <a:pt x="219523" y="990925"/>
                    <a:pt x="492378" y="994098"/>
                  </a:cubicBezTo>
                  <a:lnTo>
                    <a:pt x="492378" y="1205224"/>
                  </a:lnTo>
                  <a:lnTo>
                    <a:pt x="836001" y="862440"/>
                  </a:lnTo>
                  <a:cubicBezTo>
                    <a:pt x="938386" y="768399"/>
                    <a:pt x="996508" y="635861"/>
                    <a:pt x="996380" y="497033"/>
                  </a:cubicBezTo>
                  <a:close/>
                </a:path>
              </a:pathLst>
            </a:custGeom>
            <a:solidFill>
              <a:schemeClr val="accent5"/>
            </a:solidFill>
            <a:ln w="6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BG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0589BE5-6A57-8F4D-9D8C-C52E1A56647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06698" y="2351624"/>
            <a:ext cx="9643800" cy="1825012"/>
          </a:xfrm>
        </p:spPr>
        <p:txBody>
          <a:bodyPr tIns="108000"/>
          <a:lstStyle>
            <a:lvl1pPr marL="0" indent="0">
              <a:lnSpc>
                <a:spcPts val="3600"/>
              </a:lnSpc>
              <a:buNone/>
              <a:defRPr sz="4400" b="1" spc="-1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Quote Slide, Enter Quote Here.”</a:t>
            </a:r>
          </a:p>
          <a:p>
            <a:pPr lvl="0"/>
            <a:endParaRPr lang="en-GB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EFA5E5E-DAAF-014E-B8B4-967C914D4F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06699" y="4670326"/>
            <a:ext cx="4694052" cy="346934"/>
          </a:xfrm>
        </p:spPr>
        <p:txBody>
          <a:bodyPr tIns="36000" anchor="ctr" anchorCtr="0">
            <a:noAutofit/>
          </a:bodyPr>
          <a:lstStyle>
            <a:lvl1pPr marL="0" indent="0" algn="l">
              <a:lnSpc>
                <a:spcPts val="1800"/>
              </a:lnSpc>
              <a:buNone/>
              <a:defRPr sz="20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9552D3A5-C740-6E4E-BBFD-2D16D91FA31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06699" y="5072956"/>
            <a:ext cx="4694052" cy="318328"/>
          </a:xfrm>
        </p:spPr>
        <p:txBody>
          <a:bodyPr tIns="72000" anchor="t">
            <a:noAutofit/>
          </a:bodyPr>
          <a:lstStyle>
            <a:lvl1pPr marL="0" indent="0" algn="l">
              <a:lnSpc>
                <a:spcPts val="1800"/>
              </a:lnSpc>
              <a:buNone/>
              <a:defRPr sz="1800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5BC718B7-D1C8-234E-8499-E213D028B6F7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69766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 dirty="0">
              <a:solidFill>
                <a:schemeClr val="bg1">
                  <a:alpha val="69766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2">
            <a:extLst>
              <a:ext uri="{FF2B5EF4-FFF2-40B4-BE49-F238E27FC236}">
                <a16:creationId xmlns:a16="http://schemas.microsoft.com/office/drawing/2014/main" id="{5A2CA354-3C09-41EB-90E3-8AB6A45C06F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94075" y="6453499"/>
            <a:ext cx="939600" cy="217948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049EAEB3-1467-7E47-B524-839C5033BB34}"/>
              </a:ext>
            </a:extLst>
          </p:cNvPr>
          <p:cNvSpPr txBox="1"/>
          <p:nvPr userDrawn="1"/>
        </p:nvSpPr>
        <p:spPr>
          <a:xfrm>
            <a:off x="4507424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</a:t>
            </a:r>
            <a:r>
              <a:rPr lang="bg-BG" sz="600" b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en-US" sz="600" b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600" b="0" i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91993175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full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F9615A0-0E38-EA4B-A4CD-971B0012D7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 w="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G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458E1F70-633B-1741-81E2-FC0B0A5EBB6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9758" t="68961" r="9798" b="6376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8519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9" imgH="349" progId="TCLayout.ActiveDocument.1">
                  <p:embed/>
                </p:oleObj>
              </mc:Choice>
              <mc:Fallback>
                <p:oleObj name="think-cell Slide" r:id="rId5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16F1C15D-96CD-B54C-9B65-84F58E5EFBB7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69766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 dirty="0">
              <a:solidFill>
                <a:schemeClr val="bg1">
                  <a:alpha val="69766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2">
            <a:extLst>
              <a:ext uri="{FF2B5EF4-FFF2-40B4-BE49-F238E27FC236}">
                <a16:creationId xmlns:a16="http://schemas.microsoft.com/office/drawing/2014/main" id="{7FCBF96B-146F-4F56-AC3D-EB12817277B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94075" y="6453499"/>
            <a:ext cx="939600" cy="217948"/>
          </a:xfrm>
          <a:prstGeom prst="rect">
            <a:avLst/>
          </a:prstGeom>
        </p:spPr>
      </p:pic>
      <p:grpSp>
        <p:nvGrpSpPr>
          <p:cNvPr id="16" name="Graphic 10">
            <a:extLst>
              <a:ext uri="{FF2B5EF4-FFF2-40B4-BE49-F238E27FC236}">
                <a16:creationId xmlns:a16="http://schemas.microsoft.com/office/drawing/2014/main" id="{932DF292-4833-B247-953B-D4EA83227C77}"/>
              </a:ext>
            </a:extLst>
          </p:cNvPr>
          <p:cNvGrpSpPr/>
          <p:nvPr userDrawn="1"/>
        </p:nvGrpSpPr>
        <p:grpSpPr>
          <a:xfrm>
            <a:off x="757914" y="758595"/>
            <a:ext cx="2493286" cy="1429079"/>
            <a:chOff x="7355176" y="1247511"/>
            <a:chExt cx="2101340" cy="1204427"/>
          </a:xfrm>
        </p:grpSpPr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75D57D39-0B16-A64B-8443-72A68E313FB5}"/>
                </a:ext>
              </a:extLst>
            </p:cNvPr>
            <p:cNvSpPr/>
            <p:nvPr/>
          </p:nvSpPr>
          <p:spPr>
            <a:xfrm>
              <a:off x="7352293" y="1247383"/>
              <a:ext cx="999261" cy="1205383"/>
            </a:xfrm>
            <a:custGeom>
              <a:avLst/>
              <a:gdLst>
                <a:gd name="connsiteX0" fmla="*/ 501072 w 999261"/>
                <a:gd name="connsiteY0" fmla="*/ 128 h 1205383"/>
                <a:gd name="connsiteX1" fmla="*/ 9 w 999261"/>
                <a:gd name="connsiteY1" fmla="*/ 494325 h 1205383"/>
                <a:gd name="connsiteX2" fmla="*/ 495324 w 999261"/>
                <a:gd name="connsiteY2" fmla="*/ 994258 h 1205383"/>
                <a:gd name="connsiteX3" fmla="*/ 495324 w 999261"/>
                <a:gd name="connsiteY3" fmla="*/ 1205383 h 1205383"/>
                <a:gd name="connsiteX4" fmla="*/ 838884 w 999261"/>
                <a:gd name="connsiteY4" fmla="*/ 862408 h 1205383"/>
                <a:gd name="connsiteX5" fmla="*/ 867242 w 999261"/>
                <a:gd name="connsiteY5" fmla="*/ 160023 h 1205383"/>
                <a:gd name="connsiteX6" fmla="*/ 501072 w 999261"/>
                <a:gd name="connsiteY6" fmla="*/ 0 h 1205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9261" h="1205383">
                  <a:moveTo>
                    <a:pt x="501072" y="128"/>
                  </a:moveTo>
                  <a:cubicBezTo>
                    <a:pt x="225931" y="-1459"/>
                    <a:pt x="1599" y="219805"/>
                    <a:pt x="9" y="494325"/>
                  </a:cubicBezTo>
                  <a:cubicBezTo>
                    <a:pt x="-1582" y="768845"/>
                    <a:pt x="220183" y="992671"/>
                    <a:pt x="495324" y="994258"/>
                  </a:cubicBezTo>
                  <a:lnTo>
                    <a:pt x="495324" y="1205383"/>
                  </a:lnTo>
                  <a:lnTo>
                    <a:pt x="838884" y="862408"/>
                  </a:lnTo>
                  <a:cubicBezTo>
                    <a:pt x="1041098" y="676263"/>
                    <a:pt x="1053808" y="361793"/>
                    <a:pt x="867242" y="160023"/>
                  </a:cubicBezTo>
                  <a:cubicBezTo>
                    <a:pt x="772905" y="58016"/>
                    <a:pt x="640170" y="0"/>
                    <a:pt x="501072" y="0"/>
                  </a:cubicBezTo>
                  <a:close/>
                </a:path>
              </a:pathLst>
            </a:custGeom>
            <a:solidFill>
              <a:srgbClr val="CDFFCA"/>
            </a:solidFill>
            <a:ln w="6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BG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56FD022E-5944-DA47-BE61-7F1690CE160F}"/>
                </a:ext>
              </a:extLst>
            </p:cNvPr>
            <p:cNvSpPr/>
            <p:nvPr/>
          </p:nvSpPr>
          <p:spPr>
            <a:xfrm>
              <a:off x="8460710" y="1247606"/>
              <a:ext cx="996380" cy="1205223"/>
            </a:xfrm>
            <a:custGeom>
              <a:avLst/>
              <a:gdLst>
                <a:gd name="connsiteX0" fmla="*/ 996380 w 996380"/>
                <a:gd name="connsiteY0" fmla="*/ 497033 h 1205223"/>
                <a:gd name="connsiteX1" fmla="*/ 498126 w 996380"/>
                <a:gd name="connsiteY1" fmla="*/ 0 h 1205223"/>
                <a:gd name="connsiteX2" fmla="*/ 0 w 996380"/>
                <a:gd name="connsiteY2" fmla="*/ 497103 h 1205223"/>
                <a:gd name="connsiteX3" fmla="*/ 492378 w 996380"/>
                <a:gd name="connsiteY3" fmla="*/ 994098 h 1205223"/>
                <a:gd name="connsiteX4" fmla="*/ 492378 w 996380"/>
                <a:gd name="connsiteY4" fmla="*/ 1205224 h 1205223"/>
                <a:gd name="connsiteX5" fmla="*/ 836001 w 996380"/>
                <a:gd name="connsiteY5" fmla="*/ 862440 h 1205223"/>
                <a:gd name="connsiteX6" fmla="*/ 996380 w 996380"/>
                <a:gd name="connsiteY6" fmla="*/ 497033 h 120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6380" h="1205223">
                  <a:moveTo>
                    <a:pt x="996380" y="497033"/>
                  </a:moveTo>
                  <a:cubicBezTo>
                    <a:pt x="996380" y="222513"/>
                    <a:pt x="773280" y="-19"/>
                    <a:pt x="498126" y="0"/>
                  </a:cubicBezTo>
                  <a:cubicBezTo>
                    <a:pt x="223036" y="19"/>
                    <a:pt x="0" y="222577"/>
                    <a:pt x="0" y="497103"/>
                  </a:cubicBezTo>
                  <a:cubicBezTo>
                    <a:pt x="0" y="769348"/>
                    <a:pt x="219523" y="990925"/>
                    <a:pt x="492378" y="994098"/>
                  </a:cubicBezTo>
                  <a:lnTo>
                    <a:pt x="492378" y="1205224"/>
                  </a:lnTo>
                  <a:lnTo>
                    <a:pt x="836001" y="862440"/>
                  </a:lnTo>
                  <a:cubicBezTo>
                    <a:pt x="938386" y="768399"/>
                    <a:pt x="996508" y="635861"/>
                    <a:pt x="996380" y="497033"/>
                  </a:cubicBezTo>
                  <a:close/>
                </a:path>
              </a:pathLst>
            </a:custGeom>
            <a:solidFill>
              <a:srgbClr val="CDFFCA"/>
            </a:solidFill>
            <a:ln w="6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BG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33391C7-8702-8C41-B01E-D2B011065E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06698" y="2351624"/>
            <a:ext cx="9643800" cy="1825012"/>
          </a:xfrm>
        </p:spPr>
        <p:txBody>
          <a:bodyPr tIns="108000"/>
          <a:lstStyle>
            <a:lvl1pPr marL="0" indent="0">
              <a:lnSpc>
                <a:spcPts val="3600"/>
              </a:lnSpc>
              <a:buNone/>
              <a:defRPr sz="4400" b="1" spc="-1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Quote Slide, Enter Quote Here.”</a:t>
            </a:r>
          </a:p>
          <a:p>
            <a:pPr lvl="0"/>
            <a:endParaRPr lang="en-GB" dirty="0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43CE5176-45CA-FA49-B95F-C93300B5B02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06699" y="4670326"/>
            <a:ext cx="4694052" cy="346934"/>
          </a:xfrm>
        </p:spPr>
        <p:txBody>
          <a:bodyPr tIns="36000" anchor="ctr" anchorCtr="0">
            <a:noAutofit/>
          </a:bodyPr>
          <a:lstStyle>
            <a:lvl1pPr marL="0" indent="0" algn="l">
              <a:lnSpc>
                <a:spcPts val="1800"/>
              </a:lnSpc>
              <a:buNone/>
              <a:defRPr sz="20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BB114C84-0226-6C4B-A9B5-4A50F19EA3D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06699" y="5072956"/>
            <a:ext cx="4694052" cy="318328"/>
          </a:xfrm>
        </p:spPr>
        <p:txBody>
          <a:bodyPr tIns="72000" anchor="t">
            <a:noAutofit/>
          </a:bodyPr>
          <a:lstStyle>
            <a:lvl1pPr marL="0" indent="0" algn="l">
              <a:lnSpc>
                <a:spcPts val="1800"/>
              </a:lnSpc>
              <a:buNone/>
              <a:defRPr sz="1800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B570969-DADA-9F43-A66C-7A2FAD252773}"/>
              </a:ext>
            </a:extLst>
          </p:cNvPr>
          <p:cNvSpPr txBox="1"/>
          <p:nvPr userDrawn="1"/>
        </p:nvSpPr>
        <p:spPr>
          <a:xfrm>
            <a:off x="4507424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</a:t>
            </a:r>
            <a:r>
              <a:rPr lang="bg-BG" sz="600" b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en-US" sz="600" b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600" b="0" i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0539914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quote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0">
            <a:extLst>
              <a:ext uri="{FF2B5EF4-FFF2-40B4-BE49-F238E27FC236}">
                <a16:creationId xmlns:a16="http://schemas.microsoft.com/office/drawing/2014/main" id="{F9976DBB-EE70-1B46-926A-70F0623ACE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37802" y="2088996"/>
            <a:ext cx="5262948" cy="3907915"/>
          </a:xfrm>
          <a:prstGeom prst="rect">
            <a:avLst/>
          </a:prstGeom>
        </p:spPr>
        <p:txBody>
          <a:bodyPr tIns="0"/>
          <a:lstStyle>
            <a:lvl1pPr marL="0" indent="0">
              <a:lnSpc>
                <a:spcPts val="2700"/>
              </a:lnSpc>
              <a:buFontTx/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Example Text</a:t>
            </a:r>
            <a:endParaRPr lang="en-BG" dirty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11074453-7ED4-2846-8443-BD0B4F3FAC0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78550" y="3009747"/>
            <a:ext cx="5291138" cy="2974808"/>
          </a:xfrm>
          <a:prstGeom prst="rect">
            <a:avLst/>
          </a:prstGeom>
        </p:spPr>
        <p:txBody>
          <a:bodyPr tIns="0"/>
          <a:lstStyle>
            <a:lvl1pPr marL="0" indent="0">
              <a:lnSpc>
                <a:spcPts val="2700"/>
              </a:lnSpc>
              <a:buFontTx/>
              <a:buNone/>
              <a:defRPr sz="2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Quote Text Here</a:t>
            </a:r>
            <a:endParaRPr lang="en-BG" dirty="0"/>
          </a:p>
        </p:txBody>
      </p:sp>
      <p:grpSp>
        <p:nvGrpSpPr>
          <p:cNvPr id="6" name="Graphic 10">
            <a:extLst>
              <a:ext uri="{FF2B5EF4-FFF2-40B4-BE49-F238E27FC236}">
                <a16:creationId xmlns:a16="http://schemas.microsoft.com/office/drawing/2014/main" id="{BB169313-042B-E748-B6D1-611F7EE63DB2}"/>
              </a:ext>
            </a:extLst>
          </p:cNvPr>
          <p:cNvGrpSpPr/>
          <p:nvPr userDrawn="1"/>
        </p:nvGrpSpPr>
        <p:grpSpPr>
          <a:xfrm>
            <a:off x="6175766" y="1371600"/>
            <a:ext cx="2531487" cy="1450975"/>
            <a:chOff x="7355176" y="1247511"/>
            <a:chExt cx="2101340" cy="1204427"/>
          </a:xfrm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4559F61B-590D-7D40-9809-20BFA3E0EEE8}"/>
                </a:ext>
              </a:extLst>
            </p:cNvPr>
            <p:cNvSpPr/>
            <p:nvPr/>
          </p:nvSpPr>
          <p:spPr>
            <a:xfrm>
              <a:off x="7352293" y="1247383"/>
              <a:ext cx="999261" cy="1205383"/>
            </a:xfrm>
            <a:custGeom>
              <a:avLst/>
              <a:gdLst>
                <a:gd name="connsiteX0" fmla="*/ 501072 w 999261"/>
                <a:gd name="connsiteY0" fmla="*/ 128 h 1205383"/>
                <a:gd name="connsiteX1" fmla="*/ 9 w 999261"/>
                <a:gd name="connsiteY1" fmla="*/ 494325 h 1205383"/>
                <a:gd name="connsiteX2" fmla="*/ 495324 w 999261"/>
                <a:gd name="connsiteY2" fmla="*/ 994258 h 1205383"/>
                <a:gd name="connsiteX3" fmla="*/ 495324 w 999261"/>
                <a:gd name="connsiteY3" fmla="*/ 1205383 h 1205383"/>
                <a:gd name="connsiteX4" fmla="*/ 838884 w 999261"/>
                <a:gd name="connsiteY4" fmla="*/ 862408 h 1205383"/>
                <a:gd name="connsiteX5" fmla="*/ 867242 w 999261"/>
                <a:gd name="connsiteY5" fmla="*/ 160023 h 1205383"/>
                <a:gd name="connsiteX6" fmla="*/ 501072 w 999261"/>
                <a:gd name="connsiteY6" fmla="*/ 0 h 1205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9261" h="1205383">
                  <a:moveTo>
                    <a:pt x="501072" y="128"/>
                  </a:moveTo>
                  <a:cubicBezTo>
                    <a:pt x="225931" y="-1459"/>
                    <a:pt x="1599" y="219805"/>
                    <a:pt x="9" y="494325"/>
                  </a:cubicBezTo>
                  <a:cubicBezTo>
                    <a:pt x="-1582" y="768845"/>
                    <a:pt x="220183" y="992671"/>
                    <a:pt x="495324" y="994258"/>
                  </a:cubicBezTo>
                  <a:lnTo>
                    <a:pt x="495324" y="1205383"/>
                  </a:lnTo>
                  <a:lnTo>
                    <a:pt x="838884" y="862408"/>
                  </a:lnTo>
                  <a:cubicBezTo>
                    <a:pt x="1041098" y="676263"/>
                    <a:pt x="1053808" y="361793"/>
                    <a:pt x="867242" y="160023"/>
                  </a:cubicBezTo>
                  <a:cubicBezTo>
                    <a:pt x="772905" y="58016"/>
                    <a:pt x="640170" y="0"/>
                    <a:pt x="501072" y="0"/>
                  </a:cubicBezTo>
                  <a:close/>
                </a:path>
              </a:pathLst>
            </a:custGeom>
            <a:solidFill>
              <a:schemeClr val="accent6"/>
            </a:solidFill>
            <a:ln w="6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BG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992E75D-A512-384C-9E90-FC19625012E8}"/>
                </a:ext>
              </a:extLst>
            </p:cNvPr>
            <p:cNvSpPr/>
            <p:nvPr/>
          </p:nvSpPr>
          <p:spPr>
            <a:xfrm>
              <a:off x="8460710" y="1247606"/>
              <a:ext cx="996380" cy="1205223"/>
            </a:xfrm>
            <a:custGeom>
              <a:avLst/>
              <a:gdLst>
                <a:gd name="connsiteX0" fmla="*/ 996380 w 996380"/>
                <a:gd name="connsiteY0" fmla="*/ 497033 h 1205223"/>
                <a:gd name="connsiteX1" fmla="*/ 498126 w 996380"/>
                <a:gd name="connsiteY1" fmla="*/ 0 h 1205223"/>
                <a:gd name="connsiteX2" fmla="*/ 0 w 996380"/>
                <a:gd name="connsiteY2" fmla="*/ 497103 h 1205223"/>
                <a:gd name="connsiteX3" fmla="*/ 492378 w 996380"/>
                <a:gd name="connsiteY3" fmla="*/ 994098 h 1205223"/>
                <a:gd name="connsiteX4" fmla="*/ 492378 w 996380"/>
                <a:gd name="connsiteY4" fmla="*/ 1205224 h 1205223"/>
                <a:gd name="connsiteX5" fmla="*/ 836001 w 996380"/>
                <a:gd name="connsiteY5" fmla="*/ 862440 h 1205223"/>
                <a:gd name="connsiteX6" fmla="*/ 996380 w 996380"/>
                <a:gd name="connsiteY6" fmla="*/ 497033 h 120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6380" h="1205223">
                  <a:moveTo>
                    <a:pt x="996380" y="497033"/>
                  </a:moveTo>
                  <a:cubicBezTo>
                    <a:pt x="996380" y="222513"/>
                    <a:pt x="773280" y="-19"/>
                    <a:pt x="498126" y="0"/>
                  </a:cubicBezTo>
                  <a:cubicBezTo>
                    <a:pt x="223036" y="19"/>
                    <a:pt x="0" y="222577"/>
                    <a:pt x="0" y="497103"/>
                  </a:cubicBezTo>
                  <a:cubicBezTo>
                    <a:pt x="0" y="769348"/>
                    <a:pt x="219523" y="990925"/>
                    <a:pt x="492378" y="994098"/>
                  </a:cubicBezTo>
                  <a:lnTo>
                    <a:pt x="492378" y="1205224"/>
                  </a:lnTo>
                  <a:lnTo>
                    <a:pt x="836001" y="862440"/>
                  </a:lnTo>
                  <a:cubicBezTo>
                    <a:pt x="938386" y="768399"/>
                    <a:pt x="996508" y="635861"/>
                    <a:pt x="996380" y="497033"/>
                  </a:cubicBezTo>
                  <a:close/>
                </a:path>
              </a:pathLst>
            </a:custGeom>
            <a:solidFill>
              <a:schemeClr val="accent6"/>
            </a:solidFill>
            <a:ln w="6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BG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2" name="Title 1">
            <a:extLst>
              <a:ext uri="{FF2B5EF4-FFF2-40B4-BE49-F238E27FC236}">
                <a16:creationId xmlns:a16="http://schemas.microsoft.com/office/drawing/2014/main" id="{18AF90E1-EE23-0941-9333-3F5BC5F048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2313" y="538164"/>
            <a:ext cx="5278437" cy="1370012"/>
          </a:xfrm>
          <a:prstGeom prst="rect">
            <a:avLst/>
          </a:prstGeom>
        </p:spPr>
        <p:txBody>
          <a:bodyPr tIns="108000" anchor="t">
            <a:noAutofit/>
          </a:bodyPr>
          <a:lstStyle>
            <a:lvl1pPr>
              <a:lnSpc>
                <a:spcPts val="3600"/>
              </a:lnSpc>
              <a:defRPr lang="en-US" sz="4000" b="1" i="0" kern="0" spc="-100" baseline="0" noProof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Headline / Body Text</a:t>
            </a:r>
            <a:br>
              <a:rPr lang="en-US" dirty="0"/>
            </a:br>
            <a:r>
              <a:rPr lang="en-US" dirty="0"/>
              <a:t>&amp; Quote</a:t>
            </a:r>
          </a:p>
        </p:txBody>
      </p:sp>
    </p:spTree>
    <p:extLst>
      <p:ext uri="{BB962C8B-B14F-4D97-AF65-F5344CB8AC3E}">
        <p14:creationId xmlns:p14="http://schemas.microsoft.com/office/powerpoint/2010/main" val="32930653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Green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AFED4F88-4F8F-456C-B545-1EA180BAE73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1763375" cy="6858000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44101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F16280BD-A737-4168-AD03-8CFA3C9E789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207452" y="0"/>
            <a:ext cx="10984548" cy="6858000"/>
          </a:xfrm>
          <a:custGeom>
            <a:avLst/>
            <a:gdLst>
              <a:gd name="connsiteX0" fmla="*/ 0 w 10984548"/>
              <a:gd name="connsiteY0" fmla="*/ 0 h 6851650"/>
              <a:gd name="connsiteX1" fmla="*/ 6617336 w 10984548"/>
              <a:gd name="connsiteY1" fmla="*/ 0 h 6851650"/>
              <a:gd name="connsiteX2" fmla="*/ 10717848 w 10984548"/>
              <a:gd name="connsiteY2" fmla="*/ 0 h 6851650"/>
              <a:gd name="connsiteX3" fmla="*/ 10961688 w 10984548"/>
              <a:gd name="connsiteY3" fmla="*/ 0 h 6851650"/>
              <a:gd name="connsiteX4" fmla="*/ 10984548 w 10984548"/>
              <a:gd name="connsiteY4" fmla="*/ 0 h 6851650"/>
              <a:gd name="connsiteX5" fmla="*/ 10984548 w 10984548"/>
              <a:gd name="connsiteY5" fmla="*/ 2921000 h 6851650"/>
              <a:gd name="connsiteX6" fmla="*/ 10984548 w 10984548"/>
              <a:gd name="connsiteY6" fmla="*/ 6851650 h 6851650"/>
              <a:gd name="connsiteX7" fmla="*/ 10961688 w 10984548"/>
              <a:gd name="connsiteY7" fmla="*/ 6851650 h 6851650"/>
              <a:gd name="connsiteX8" fmla="*/ 10717848 w 10984548"/>
              <a:gd name="connsiteY8" fmla="*/ 6851650 h 6851650"/>
              <a:gd name="connsiteX9" fmla="*/ 10529888 w 10984548"/>
              <a:gd name="connsiteY9" fmla="*/ 6851650 h 6851650"/>
              <a:gd name="connsiteX10" fmla="*/ 10529888 w 10984548"/>
              <a:gd name="connsiteY10" fmla="*/ 6270625 h 6851650"/>
              <a:gd name="connsiteX11" fmla="*/ 10529888 w 10984548"/>
              <a:gd name="connsiteY11" fmla="*/ 6238875 h 6851650"/>
              <a:gd name="connsiteX12" fmla="*/ 10523538 w 10984548"/>
              <a:gd name="connsiteY12" fmla="*/ 6203950 h 6851650"/>
              <a:gd name="connsiteX13" fmla="*/ 10514013 w 10984548"/>
              <a:gd name="connsiteY13" fmla="*/ 6172200 h 6851650"/>
              <a:gd name="connsiteX14" fmla="*/ 10501313 w 10984548"/>
              <a:gd name="connsiteY14" fmla="*/ 6140450 h 6851650"/>
              <a:gd name="connsiteX15" fmla="*/ 10479088 w 10984548"/>
              <a:gd name="connsiteY15" fmla="*/ 6099175 h 6851650"/>
              <a:gd name="connsiteX16" fmla="*/ 10453688 w 10984548"/>
              <a:gd name="connsiteY16" fmla="*/ 6061075 h 6851650"/>
              <a:gd name="connsiteX17" fmla="*/ 10421938 w 10984548"/>
              <a:gd name="connsiteY17" fmla="*/ 6029325 h 6851650"/>
              <a:gd name="connsiteX18" fmla="*/ 10387013 w 10984548"/>
              <a:gd name="connsiteY18" fmla="*/ 6000750 h 6851650"/>
              <a:gd name="connsiteX19" fmla="*/ 10347325 w 10984548"/>
              <a:gd name="connsiteY19" fmla="*/ 5975350 h 6851650"/>
              <a:gd name="connsiteX20" fmla="*/ 10309225 w 10984548"/>
              <a:gd name="connsiteY20" fmla="*/ 5949950 h 6851650"/>
              <a:gd name="connsiteX21" fmla="*/ 10226675 w 10984548"/>
              <a:gd name="connsiteY21" fmla="*/ 5902325 h 6851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984548" h="6851650">
                <a:moveTo>
                  <a:pt x="0" y="0"/>
                </a:moveTo>
                <a:lnTo>
                  <a:pt x="6617336" y="0"/>
                </a:lnTo>
                <a:lnTo>
                  <a:pt x="10717848" y="0"/>
                </a:lnTo>
                <a:lnTo>
                  <a:pt x="10961688" y="0"/>
                </a:lnTo>
                <a:lnTo>
                  <a:pt x="10984548" y="0"/>
                </a:lnTo>
                <a:lnTo>
                  <a:pt x="10984548" y="2921000"/>
                </a:lnTo>
                <a:lnTo>
                  <a:pt x="10984548" y="6851650"/>
                </a:lnTo>
                <a:lnTo>
                  <a:pt x="10961688" y="6851650"/>
                </a:lnTo>
                <a:lnTo>
                  <a:pt x="10717848" y="6851650"/>
                </a:lnTo>
                <a:lnTo>
                  <a:pt x="10529888" y="6851650"/>
                </a:lnTo>
                <a:lnTo>
                  <a:pt x="10529888" y="6270625"/>
                </a:lnTo>
                <a:lnTo>
                  <a:pt x="10529888" y="6238875"/>
                </a:lnTo>
                <a:lnTo>
                  <a:pt x="10523538" y="6203950"/>
                </a:lnTo>
                <a:lnTo>
                  <a:pt x="10514013" y="6172200"/>
                </a:lnTo>
                <a:lnTo>
                  <a:pt x="10501313" y="6140450"/>
                </a:lnTo>
                <a:lnTo>
                  <a:pt x="10479088" y="6099175"/>
                </a:lnTo>
                <a:lnTo>
                  <a:pt x="10453688" y="6061075"/>
                </a:lnTo>
                <a:lnTo>
                  <a:pt x="10421938" y="6029325"/>
                </a:lnTo>
                <a:lnTo>
                  <a:pt x="10387013" y="6000750"/>
                </a:lnTo>
                <a:lnTo>
                  <a:pt x="10347325" y="5975350"/>
                </a:lnTo>
                <a:lnTo>
                  <a:pt x="10309225" y="5949950"/>
                </a:lnTo>
                <a:lnTo>
                  <a:pt x="10226675" y="5902325"/>
                </a:lnTo>
                <a:close/>
              </a:path>
            </a:pathLst>
          </a:custGeom>
          <a:solidFill>
            <a:schemeClr val="bg2"/>
          </a:solidFill>
        </p:spPr>
        <p:txBody>
          <a:bodyPr vert="horz" wrap="square" lIns="0" tIns="0" rIns="0" bIns="0" rtlCol="0" anchor="t" anchorCtr="0">
            <a:noAutofit/>
          </a:bodyPr>
          <a:lstStyle>
            <a:lvl1pPr marL="0" indent="0" algn="r">
              <a:buNone/>
              <a:defRPr lang="id-ID" b="1" dirty="0">
                <a:solidFill>
                  <a:srgbClr val="F162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algn="r"/>
            <a:r>
              <a:rPr lang="en-US"/>
              <a:t>Click icon to add picture</a:t>
            </a:r>
            <a:endParaRPr lang="id-ID" dirty="0"/>
          </a:p>
        </p:txBody>
      </p:sp>
      <p:pic>
        <p:nvPicPr>
          <p:cNvPr id="9" name="Picture 3">
            <a:extLst>
              <a:ext uri="{FF2B5EF4-FFF2-40B4-BE49-F238E27FC236}">
                <a16:creationId xmlns:a16="http://schemas.microsoft.com/office/drawing/2014/main" id="{42615BD2-DBC2-4343-8DF8-9969F28A3FE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426315" y="3272915"/>
            <a:ext cx="1342800" cy="311474"/>
          </a:xfrm>
          <a:prstGeom prst="rect">
            <a:avLst/>
          </a:prstGeom>
        </p:spPr>
      </p:pic>
      <p:sp>
        <p:nvSpPr>
          <p:cNvPr id="11" name="Title 3">
            <a:extLst>
              <a:ext uri="{FF2B5EF4-FFF2-40B4-BE49-F238E27FC236}">
                <a16:creationId xmlns:a16="http://schemas.microsoft.com/office/drawing/2014/main" id="{EB967D1A-E798-264D-B1A3-AC4BE60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0641" y="3736975"/>
            <a:ext cx="5261778" cy="1383817"/>
          </a:xfrm>
          <a:prstGeom prst="rect">
            <a:avLst/>
          </a:prstGeom>
        </p:spPr>
        <p:txBody>
          <a:bodyPr vert="horz" lIns="0" tIns="108000" rIns="0" bIns="0" anchor="t" anchorCtr="0">
            <a:noAutofit/>
          </a:bodyPr>
          <a:lstStyle>
            <a:lvl1pPr>
              <a:lnSpc>
                <a:spcPts val="3600"/>
              </a:lnSpc>
              <a:defRPr sz="4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Up to</a:t>
            </a:r>
            <a:br>
              <a:rPr lang="en-GB" dirty="0"/>
            </a:br>
            <a:r>
              <a:rPr lang="en-GB" dirty="0"/>
              <a:t>Three </a:t>
            </a:r>
            <a:br>
              <a:rPr lang="en-GB" dirty="0"/>
            </a:br>
            <a:r>
              <a:rPr lang="en-GB" dirty="0"/>
              <a:t>Lines</a:t>
            </a:r>
            <a:endParaRPr lang="en-BG" dirty="0"/>
          </a:p>
        </p:txBody>
      </p:sp>
      <p:sp>
        <p:nvSpPr>
          <p:cNvPr id="10" name="Rectangle 6">
            <a:extLst>
              <a:ext uri="{FF2B5EF4-FFF2-40B4-BE49-F238E27FC236}">
                <a16:creationId xmlns:a16="http://schemas.microsoft.com/office/drawing/2014/main" id="{473BAE51-FD0F-4746-8109-F3B14362DD28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722312" y="5273378"/>
            <a:ext cx="5278437" cy="441487"/>
          </a:xfrm>
          <a:prstGeom prst="rect">
            <a:avLst/>
          </a:prstGeom>
          <a:ln algn="ctr"/>
        </p:spPr>
        <p:txBody>
          <a:bodyPr lIns="0" tIns="0" rIns="0" bIns="0" anchor="ctr" anchorCtr="0"/>
          <a:lstStyle>
            <a:lvl1pPr marL="0" indent="0">
              <a:buClrTx/>
              <a:buFontTx/>
              <a:buNone/>
              <a:defRPr sz="2400" i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r>
              <a:rPr lang="en-US" dirty="0"/>
              <a:t>Sub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99969722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tems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79DEE5-21BE-4808-BA4C-CB06842D7A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68136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Graphic 14">
            <a:extLst>
              <a:ext uri="{FF2B5EF4-FFF2-40B4-BE49-F238E27FC236}">
                <a16:creationId xmlns:a16="http://schemas.microsoft.com/office/drawing/2014/main" id="{394358EC-73B1-7346-9DD7-A7EA513071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-136" t="63658" r="69121" b="5698"/>
          <a:stretch/>
        </p:blipFill>
        <p:spPr>
          <a:xfrm>
            <a:off x="7742498" y="0"/>
            <a:ext cx="4449502" cy="505772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CD3C179-3A96-4AF2-8537-E4515FA2F2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3600" y="538163"/>
            <a:ext cx="5277150" cy="1370012"/>
          </a:xfrm>
        </p:spPr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3 Items / Features </a:t>
            </a:r>
            <a:br>
              <a:rPr lang="en-US" dirty="0"/>
            </a:br>
            <a:r>
              <a:rPr lang="en-US" dirty="0"/>
              <a:t>Illustrated Bullet List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42E99C1D-FECF-1A48-9EF7-1B84A71BCB6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2313" y="3524345"/>
            <a:ext cx="2528887" cy="2618789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ct val="100000"/>
              </a:lnSpc>
              <a:buFontTx/>
              <a:buNone/>
              <a:defRPr sz="24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Example Text</a:t>
            </a:r>
            <a:endParaRPr lang="en-BG" dirty="0"/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A5EF1190-5546-9344-8150-9CFE9B58C8F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2313" y="2915975"/>
            <a:ext cx="2528887" cy="461963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 dirty="0"/>
              <a:t>Item 1</a:t>
            </a:r>
          </a:p>
        </p:txBody>
      </p:sp>
      <p:sp>
        <p:nvSpPr>
          <p:cNvPr id="17" name="Text Placeholder 18">
            <a:extLst>
              <a:ext uri="{FF2B5EF4-FFF2-40B4-BE49-F238E27FC236}">
                <a16:creationId xmlns:a16="http://schemas.microsoft.com/office/drawing/2014/main" id="{16A0B128-769D-D245-8408-26CCA207BC1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52813" y="2915975"/>
            <a:ext cx="2547937" cy="461963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 dirty="0"/>
              <a:t>Item 2</a:t>
            </a:r>
          </a:p>
        </p:txBody>
      </p:sp>
      <p:sp>
        <p:nvSpPr>
          <p:cNvPr id="18" name="Text Placeholder 18">
            <a:extLst>
              <a:ext uri="{FF2B5EF4-FFF2-40B4-BE49-F238E27FC236}">
                <a16:creationId xmlns:a16="http://schemas.microsoft.com/office/drawing/2014/main" id="{5E8F70FE-71F1-1049-9CF2-2848562EF1A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78232" y="2915975"/>
            <a:ext cx="2554605" cy="461963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 dirty="0"/>
              <a:t>Item 3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3C19AD2-A4A1-4544-935C-AFEE661EF76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452813" y="3524344"/>
            <a:ext cx="2547937" cy="2618789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ct val="100000"/>
              </a:lnSpc>
              <a:buFontTx/>
              <a:buNone/>
              <a:defRPr sz="24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Example Text</a:t>
            </a:r>
            <a:endParaRPr lang="en-BG" dirty="0"/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B07DDF4F-EBAE-AE44-900E-77CE0CF9BA9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83998" y="3532376"/>
            <a:ext cx="2547937" cy="2618789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ct val="100000"/>
              </a:lnSpc>
              <a:buFontTx/>
              <a:buNone/>
              <a:defRPr sz="24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Example Text</a:t>
            </a:r>
            <a:endParaRPr lang="en-BG" dirty="0"/>
          </a:p>
        </p:txBody>
      </p:sp>
    </p:spTree>
    <p:extLst>
      <p:ext uri="{BB962C8B-B14F-4D97-AF65-F5344CB8AC3E}">
        <p14:creationId xmlns:p14="http://schemas.microsoft.com/office/powerpoint/2010/main" val="301690136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tems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625A317-569A-41B3-A3AE-1CBF90C53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1455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20">
            <a:extLst>
              <a:ext uri="{FF2B5EF4-FFF2-40B4-BE49-F238E27FC236}">
                <a16:creationId xmlns:a16="http://schemas.microsoft.com/office/drawing/2014/main" id="{AEE74F99-8271-C34E-885E-3E090017D8E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2313" y="3524345"/>
            <a:ext cx="2528887" cy="2618789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ct val="100000"/>
              </a:lnSpc>
              <a:buFontTx/>
              <a:buNone/>
              <a:defRPr sz="24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Example Text</a:t>
            </a:r>
            <a:endParaRPr lang="en-BG" dirty="0"/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B721594E-7484-5E47-8564-98DE9C29C25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2313" y="2915975"/>
            <a:ext cx="2528887" cy="461963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 dirty="0"/>
              <a:t>Item 1</a:t>
            </a:r>
          </a:p>
        </p:txBody>
      </p:sp>
      <p:sp>
        <p:nvSpPr>
          <p:cNvPr id="23" name="Text Placeholder 18">
            <a:extLst>
              <a:ext uri="{FF2B5EF4-FFF2-40B4-BE49-F238E27FC236}">
                <a16:creationId xmlns:a16="http://schemas.microsoft.com/office/drawing/2014/main" id="{B1B99D54-15E5-9A44-BD9F-CDC7FA006D1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52813" y="2915975"/>
            <a:ext cx="2547937" cy="461963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 dirty="0"/>
              <a:t>Item 2</a:t>
            </a:r>
          </a:p>
        </p:txBody>
      </p:sp>
      <p:sp>
        <p:nvSpPr>
          <p:cNvPr id="25" name="Text Placeholder 18">
            <a:extLst>
              <a:ext uri="{FF2B5EF4-FFF2-40B4-BE49-F238E27FC236}">
                <a16:creationId xmlns:a16="http://schemas.microsoft.com/office/drawing/2014/main" id="{C56CB44F-A428-A24E-9FD6-03C902B8CB1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78232" y="2915975"/>
            <a:ext cx="2554605" cy="461963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 dirty="0"/>
              <a:t>Item 3</a:t>
            </a:r>
          </a:p>
        </p:txBody>
      </p:sp>
      <p:sp>
        <p:nvSpPr>
          <p:cNvPr id="27" name="Text Placeholder 18">
            <a:extLst>
              <a:ext uri="{FF2B5EF4-FFF2-40B4-BE49-F238E27FC236}">
                <a16:creationId xmlns:a16="http://schemas.microsoft.com/office/drawing/2014/main" id="{4ADD9F6F-04EC-3548-89ED-07083CA31F7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16988" y="2915975"/>
            <a:ext cx="2552700" cy="461963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 dirty="0"/>
              <a:t>Item 4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59572E56-7E01-9B4B-A25B-1F1656B06DE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452813" y="3524344"/>
            <a:ext cx="2547937" cy="2618789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ct val="100000"/>
              </a:lnSpc>
              <a:buFontTx/>
              <a:buNone/>
              <a:defRPr sz="24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Example Text</a:t>
            </a:r>
            <a:endParaRPr lang="en-BG" dirty="0"/>
          </a:p>
        </p:txBody>
      </p:sp>
      <p:sp>
        <p:nvSpPr>
          <p:cNvPr id="15" name="Text Placeholder 20">
            <a:extLst>
              <a:ext uri="{FF2B5EF4-FFF2-40B4-BE49-F238E27FC236}">
                <a16:creationId xmlns:a16="http://schemas.microsoft.com/office/drawing/2014/main" id="{526BD833-CFF8-F541-92F8-E3D36BA6D48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83998" y="3532376"/>
            <a:ext cx="2547937" cy="2618789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ct val="100000"/>
              </a:lnSpc>
              <a:buFontTx/>
              <a:buNone/>
              <a:defRPr sz="24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Example Text</a:t>
            </a:r>
            <a:endParaRPr lang="en-BG" dirty="0"/>
          </a:p>
        </p:txBody>
      </p:sp>
      <p:sp>
        <p:nvSpPr>
          <p:cNvPr id="16" name="Text Placeholder 20">
            <a:extLst>
              <a:ext uri="{FF2B5EF4-FFF2-40B4-BE49-F238E27FC236}">
                <a16:creationId xmlns:a16="http://schemas.microsoft.com/office/drawing/2014/main" id="{57862449-EC25-604D-A3A7-CE54B563354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916988" y="3524343"/>
            <a:ext cx="2552699" cy="2618789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ct val="100000"/>
              </a:lnSpc>
              <a:buFontTx/>
              <a:buNone/>
              <a:defRPr sz="24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Example Text</a:t>
            </a:r>
            <a:endParaRPr lang="en-BG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42960B-5CFE-4CCC-8A7C-819AB126A4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3599" y="538164"/>
            <a:ext cx="10746087" cy="1370012"/>
          </a:xfrm>
        </p:spPr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4 Items / Features </a:t>
            </a:r>
            <a:br>
              <a:rPr lang="en-US" dirty="0"/>
            </a:br>
            <a:r>
              <a:rPr lang="en-US" dirty="0"/>
              <a:t>Illustrated Bullet List</a:t>
            </a:r>
          </a:p>
        </p:txBody>
      </p:sp>
    </p:spTree>
    <p:extLst>
      <p:ext uri="{BB962C8B-B14F-4D97-AF65-F5344CB8AC3E}">
        <p14:creationId xmlns:p14="http://schemas.microsoft.com/office/powerpoint/2010/main" val="283188014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tems list with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0AF44F5-3F68-4F5B-A7E5-CC271941FC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8504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DFC8C7E7-A516-41B5-9F14-435519410B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3599" y="531537"/>
            <a:ext cx="10746087" cy="1370012"/>
          </a:xfrm>
        </p:spPr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4 Items / Features </a:t>
            </a:r>
            <a:br>
              <a:rPr lang="en-US" dirty="0"/>
            </a:br>
            <a:r>
              <a:rPr lang="en-US" dirty="0"/>
              <a:t>Illustrated Bullet List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6097E424-2284-1C45-8664-943C1775942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2313" y="3525740"/>
            <a:ext cx="2528887" cy="2720975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ct val="100000"/>
              </a:lnSpc>
              <a:buFontTx/>
              <a:buNone/>
              <a:defRPr sz="24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Example Text</a:t>
            </a:r>
            <a:endParaRPr lang="en-BG" dirty="0"/>
          </a:p>
        </p:txBody>
      </p:sp>
      <p:sp>
        <p:nvSpPr>
          <p:cNvPr id="14" name="Text Placeholder 18">
            <a:extLst>
              <a:ext uri="{FF2B5EF4-FFF2-40B4-BE49-F238E27FC236}">
                <a16:creationId xmlns:a16="http://schemas.microsoft.com/office/drawing/2014/main" id="{79C50273-100C-4E43-9758-9D2E2EA1745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22313" y="2923268"/>
            <a:ext cx="2528887" cy="461963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 dirty="0"/>
              <a:t>Item 1</a:t>
            </a:r>
          </a:p>
        </p:txBody>
      </p:sp>
      <p:sp>
        <p:nvSpPr>
          <p:cNvPr id="15" name="Text Placeholder 18">
            <a:extLst>
              <a:ext uri="{FF2B5EF4-FFF2-40B4-BE49-F238E27FC236}">
                <a16:creationId xmlns:a16="http://schemas.microsoft.com/office/drawing/2014/main" id="{FC741B5D-9CA8-0246-A540-76E015AE202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452813" y="2923268"/>
            <a:ext cx="2547937" cy="461963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 dirty="0"/>
              <a:t>Item 2</a:t>
            </a:r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04D2873D-9B96-D247-ADF5-8D2C81C5EB4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178232" y="2923268"/>
            <a:ext cx="2554605" cy="461963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 dirty="0"/>
              <a:t>Item 3</a:t>
            </a:r>
          </a:p>
        </p:txBody>
      </p:sp>
      <p:sp>
        <p:nvSpPr>
          <p:cNvPr id="17" name="Text Placeholder 18">
            <a:extLst>
              <a:ext uri="{FF2B5EF4-FFF2-40B4-BE49-F238E27FC236}">
                <a16:creationId xmlns:a16="http://schemas.microsoft.com/office/drawing/2014/main" id="{96525B51-4D86-3248-877C-36E8C202176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916988" y="2923268"/>
            <a:ext cx="2552700" cy="461963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rgbClr val="00D36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 dirty="0"/>
              <a:t>Item 4</a:t>
            </a:r>
          </a:p>
        </p:txBody>
      </p:sp>
      <p:sp>
        <p:nvSpPr>
          <p:cNvPr id="18" name="Text Placeholder 20">
            <a:extLst>
              <a:ext uri="{FF2B5EF4-FFF2-40B4-BE49-F238E27FC236}">
                <a16:creationId xmlns:a16="http://schemas.microsoft.com/office/drawing/2014/main" id="{98DF9A9E-978E-6D43-8349-0D66C40F2FC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452813" y="3525740"/>
            <a:ext cx="2547937" cy="2720975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ct val="100000"/>
              </a:lnSpc>
              <a:buFontTx/>
              <a:buNone/>
              <a:defRPr sz="24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Example Text</a:t>
            </a:r>
            <a:endParaRPr lang="en-BG" dirty="0"/>
          </a:p>
        </p:txBody>
      </p:sp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451DF4D2-96D5-2345-BF90-56F6C36D8C3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183998" y="3525740"/>
            <a:ext cx="2547937" cy="2720975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ct val="100000"/>
              </a:lnSpc>
              <a:buFontTx/>
              <a:buNone/>
              <a:defRPr sz="24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Example Text</a:t>
            </a:r>
            <a:endParaRPr lang="en-BG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4D5AADC-0189-FA4C-86D9-96588C326A3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916988" y="3525740"/>
            <a:ext cx="2552699" cy="2720975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ct val="100000"/>
              </a:lnSpc>
              <a:buFontTx/>
              <a:buNone/>
              <a:defRPr sz="24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Example Text</a:t>
            </a:r>
            <a:endParaRPr lang="en-BG" dirty="0"/>
          </a:p>
        </p:txBody>
      </p:sp>
    </p:spTree>
    <p:extLst>
      <p:ext uri="{BB962C8B-B14F-4D97-AF65-F5344CB8AC3E}">
        <p14:creationId xmlns:p14="http://schemas.microsoft.com/office/powerpoint/2010/main" val="145271140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items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E63340-CFC6-4DE4-A808-EF24C62FF7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53691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E8466CBF-EFEB-BF4E-8EF1-DA6DA515FFA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53741" y="2624943"/>
            <a:ext cx="2627733" cy="1332541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ct val="100000"/>
              </a:lnSpc>
              <a:buFontTx/>
              <a:buNone/>
              <a:defRPr sz="20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Example Text</a:t>
            </a:r>
            <a:endParaRPr lang="en-BG" dirty="0"/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D5DD337E-FCEB-8848-9F17-4A7948DB856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53741" y="2037104"/>
            <a:ext cx="2627733" cy="416859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 dirty="0"/>
              <a:t>Feature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802B59A1-B3EF-2645-B49B-4D774FF780B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53741" y="4328800"/>
            <a:ext cx="2627733" cy="416859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rgbClr val="F162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 dirty="0"/>
              <a:t>Feature</a:t>
            </a:r>
          </a:p>
        </p:txBody>
      </p:sp>
      <p:sp>
        <p:nvSpPr>
          <p:cNvPr id="11" name="Text Placeholder 18">
            <a:extLst>
              <a:ext uri="{FF2B5EF4-FFF2-40B4-BE49-F238E27FC236}">
                <a16:creationId xmlns:a16="http://schemas.microsoft.com/office/drawing/2014/main" id="{76935810-7504-4B45-83F9-2E99FFE8E0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86627" y="2037104"/>
            <a:ext cx="2634018" cy="416859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 dirty="0"/>
              <a:t>Fea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AB2FAA5E-B4A1-764E-B89C-0F89E86576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186627" y="4328800"/>
            <a:ext cx="2634018" cy="416859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rgbClr val="5122B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 dirty="0"/>
              <a:t>Feature</a:t>
            </a:r>
          </a:p>
        </p:txBody>
      </p:sp>
      <p:sp>
        <p:nvSpPr>
          <p:cNvPr id="15" name="Text Placeholder 18">
            <a:extLst>
              <a:ext uri="{FF2B5EF4-FFF2-40B4-BE49-F238E27FC236}">
                <a16:creationId xmlns:a16="http://schemas.microsoft.com/office/drawing/2014/main" id="{580FC978-AF1C-5244-BA36-D990852E29C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40896" y="2037104"/>
            <a:ext cx="2628792" cy="416859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 dirty="0"/>
              <a:t>Feature</a:t>
            </a:r>
          </a:p>
        </p:txBody>
      </p:sp>
      <p:sp>
        <p:nvSpPr>
          <p:cNvPr id="17" name="Text Placeholder 18">
            <a:extLst>
              <a:ext uri="{FF2B5EF4-FFF2-40B4-BE49-F238E27FC236}">
                <a16:creationId xmlns:a16="http://schemas.microsoft.com/office/drawing/2014/main" id="{5DB8FC56-8E45-B642-BA86-CA674617E8D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840896" y="4328800"/>
            <a:ext cx="2628792" cy="416859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 dirty="0"/>
              <a:t>Feature</a:t>
            </a:r>
          </a:p>
        </p:txBody>
      </p:sp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F4FDECCA-8BA0-1E46-959C-40D405A3DD8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86627" y="2624943"/>
            <a:ext cx="2627733" cy="1332541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ct val="100000"/>
              </a:lnSpc>
              <a:buFontTx/>
              <a:buNone/>
              <a:defRPr sz="20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Example Text</a:t>
            </a:r>
            <a:endParaRPr lang="en-BG" dirty="0"/>
          </a:p>
        </p:txBody>
      </p:sp>
      <p:sp>
        <p:nvSpPr>
          <p:cNvPr id="20" name="Text Placeholder 20">
            <a:extLst>
              <a:ext uri="{FF2B5EF4-FFF2-40B4-BE49-F238E27FC236}">
                <a16:creationId xmlns:a16="http://schemas.microsoft.com/office/drawing/2014/main" id="{1D615094-1A97-4D44-963D-B6646A38C7A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840896" y="2624943"/>
            <a:ext cx="2627733" cy="1332541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ct val="100000"/>
              </a:lnSpc>
              <a:buFontTx/>
              <a:buNone/>
              <a:defRPr sz="20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Example Text</a:t>
            </a:r>
            <a:endParaRPr lang="en-BG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C0DC2E1-3303-ED4F-AF0A-C83B26F853C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53741" y="4923617"/>
            <a:ext cx="2627733" cy="1396220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ct val="100000"/>
              </a:lnSpc>
              <a:buFontTx/>
              <a:buNone/>
              <a:defRPr sz="20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Example Text</a:t>
            </a:r>
            <a:endParaRPr lang="en-BG" dirty="0"/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3234F23D-C765-1C43-8BE8-B63E9013F02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186627" y="4923617"/>
            <a:ext cx="2627733" cy="1396220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ct val="100000"/>
              </a:lnSpc>
              <a:buFontTx/>
              <a:buNone/>
              <a:defRPr sz="20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Example Text</a:t>
            </a:r>
            <a:endParaRPr lang="en-BG" dirty="0"/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38C0BF57-A485-B741-AAB8-63E6E654704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0896" y="4923617"/>
            <a:ext cx="2627733" cy="1396220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ct val="100000"/>
              </a:lnSpc>
              <a:buFontTx/>
              <a:buNone/>
              <a:defRPr sz="20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Example Text</a:t>
            </a:r>
            <a:endParaRPr lang="en-BG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FF33FF-9B6D-41BF-97A6-EF8D86B8BD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3599" y="538163"/>
            <a:ext cx="10745029" cy="1370012"/>
          </a:xfrm>
        </p:spPr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6 Items / Features Illustrated Bullet List</a:t>
            </a:r>
          </a:p>
        </p:txBody>
      </p:sp>
    </p:spTree>
    <p:extLst>
      <p:ext uri="{BB962C8B-B14F-4D97-AF65-F5344CB8AC3E}">
        <p14:creationId xmlns:p14="http://schemas.microsoft.com/office/powerpoint/2010/main" val="222888040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0EC62F6-95F3-EF43-9346-3E168880B4FF}"/>
              </a:ext>
            </a:extLst>
          </p:cNvPr>
          <p:cNvSpPr/>
          <p:nvPr userDrawn="1"/>
        </p:nvSpPr>
        <p:spPr>
          <a:xfrm>
            <a:off x="0" y="-1990"/>
            <a:ext cx="12192000" cy="1679978"/>
          </a:xfrm>
          <a:prstGeom prst="rect">
            <a:avLst/>
          </a:prstGeom>
          <a:solidFill>
            <a:schemeClr val="accent3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G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 descr="Shape&#10;&#10;Description automatically generated with medium confidence">
            <a:extLst>
              <a:ext uri="{FF2B5EF4-FFF2-40B4-BE49-F238E27FC236}">
                <a16:creationId xmlns:a16="http://schemas.microsoft.com/office/drawing/2014/main" id="{E6441CC9-6AC1-4035-9BC4-BDF048D1E3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965"/>
          <a:stretch/>
        </p:blipFill>
        <p:spPr>
          <a:xfrm>
            <a:off x="0" y="0"/>
            <a:ext cx="12192000" cy="1677988"/>
          </a:xfrm>
          <a:prstGeom prst="rect">
            <a:avLst/>
          </a:prstGeom>
        </p:spPr>
      </p:pic>
      <p:sp>
        <p:nvSpPr>
          <p:cNvPr id="17" name="Text Placeholder 20">
            <a:extLst>
              <a:ext uri="{FF2B5EF4-FFF2-40B4-BE49-F238E27FC236}">
                <a16:creationId xmlns:a16="http://schemas.microsoft.com/office/drawing/2014/main" id="{9F0AE9B3-026B-AC45-B378-4E7D4A063D1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2313" y="5162992"/>
            <a:ext cx="2526055" cy="864746"/>
          </a:xfrm>
          <a:prstGeom prst="rect">
            <a:avLst/>
          </a:prstGeom>
        </p:spPr>
        <p:txBody>
          <a:bodyPr tIns="36000"/>
          <a:lstStyle>
            <a:lvl1pPr marL="0" indent="0" algn="ctr">
              <a:lnSpc>
                <a:spcPts val="1800"/>
              </a:lnSpc>
              <a:buFontTx/>
              <a:buNone/>
              <a:defRPr sz="18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Position</a:t>
            </a:r>
            <a:endParaRPr lang="en-BG" dirty="0"/>
          </a:p>
        </p:txBody>
      </p:sp>
      <p:sp>
        <p:nvSpPr>
          <p:cNvPr id="18" name="Text Placeholder 18">
            <a:extLst>
              <a:ext uri="{FF2B5EF4-FFF2-40B4-BE49-F238E27FC236}">
                <a16:creationId xmlns:a16="http://schemas.microsoft.com/office/drawing/2014/main" id="{683F232C-00AB-6F4D-A5B4-C4B0CB18743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2313" y="4651970"/>
            <a:ext cx="2526055" cy="461594"/>
          </a:xfrm>
          <a:prstGeom prst="rect">
            <a:avLst/>
          </a:prstGeom>
        </p:spPr>
        <p:txBody>
          <a:bodyPr tIns="72000" anchor="ctr" anchorCtr="0"/>
          <a:lstStyle>
            <a:lvl1pPr marL="0" indent="0" algn="ctr">
              <a:lnSpc>
                <a:spcPts val="1800"/>
              </a:lnSpc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 dirty="0"/>
              <a:t>Name 1</a:t>
            </a:r>
          </a:p>
        </p:txBody>
      </p:sp>
      <p:sp>
        <p:nvSpPr>
          <p:cNvPr id="34" name="Picture Placeholder 1">
            <a:extLst>
              <a:ext uri="{FF2B5EF4-FFF2-40B4-BE49-F238E27FC236}">
                <a16:creationId xmlns:a16="http://schemas.microsoft.com/office/drawing/2014/main" id="{CA3015F1-BAB4-1F4C-B181-CBFA2D7E7B9E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953134" y="2355867"/>
            <a:ext cx="2062128" cy="2062128"/>
          </a:xfrm>
          <a:prstGeom prst="ellipse">
            <a:avLst/>
          </a:prstGeom>
          <a:solidFill>
            <a:srgbClr val="DDE9F7"/>
          </a:solidFill>
        </p:spPr>
        <p:txBody>
          <a:bodyPr/>
          <a:lstStyle>
            <a:lvl1pPr marL="0" indent="0" algn="ctr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hr-HR" dirty="0"/>
              <a:t>Picture</a:t>
            </a:r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8609CF4-24AF-E743-B42C-A59B73664181}"/>
              </a:ext>
            </a:extLst>
          </p:cNvPr>
          <p:cNvSpPr txBox="1"/>
          <p:nvPr userDrawn="1"/>
        </p:nvSpPr>
        <p:spPr>
          <a:xfrm>
            <a:off x="1742303" y="4893276"/>
            <a:ext cx="0" cy="0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algn="l"/>
            <a:endParaRPr lang="en-BG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 Placeholder 20">
            <a:extLst>
              <a:ext uri="{FF2B5EF4-FFF2-40B4-BE49-F238E27FC236}">
                <a16:creationId xmlns:a16="http://schemas.microsoft.com/office/drawing/2014/main" id="{94BF50F9-DFCC-104B-98F5-B6944BB6186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53156" y="5162992"/>
            <a:ext cx="2547594" cy="864746"/>
          </a:xfrm>
          <a:prstGeom prst="rect">
            <a:avLst/>
          </a:prstGeom>
        </p:spPr>
        <p:txBody>
          <a:bodyPr tIns="36000"/>
          <a:lstStyle>
            <a:lvl1pPr marL="0" indent="0" algn="ctr">
              <a:lnSpc>
                <a:spcPts val="1800"/>
              </a:lnSpc>
              <a:buFontTx/>
              <a:buNone/>
              <a:defRPr sz="18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Position</a:t>
            </a:r>
            <a:endParaRPr lang="en-BG" dirty="0"/>
          </a:p>
        </p:txBody>
      </p:sp>
      <p:sp>
        <p:nvSpPr>
          <p:cNvPr id="23" name="Text Placeholder 18">
            <a:extLst>
              <a:ext uri="{FF2B5EF4-FFF2-40B4-BE49-F238E27FC236}">
                <a16:creationId xmlns:a16="http://schemas.microsoft.com/office/drawing/2014/main" id="{D150FA14-0936-DB45-99B3-1FDE2503292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53156" y="4651970"/>
            <a:ext cx="2547594" cy="461594"/>
          </a:xfrm>
          <a:prstGeom prst="rect">
            <a:avLst/>
          </a:prstGeom>
        </p:spPr>
        <p:txBody>
          <a:bodyPr tIns="72000" anchor="ctr" anchorCtr="0"/>
          <a:lstStyle>
            <a:lvl1pPr marL="0" indent="0" algn="ctr">
              <a:lnSpc>
                <a:spcPts val="1800"/>
              </a:lnSpc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 dirty="0"/>
              <a:t>Name 2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4DAE994E-61C7-F843-99A7-D08D2A1DAD4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84000" y="5162992"/>
            <a:ext cx="2548838" cy="864746"/>
          </a:xfrm>
          <a:prstGeom prst="rect">
            <a:avLst/>
          </a:prstGeom>
        </p:spPr>
        <p:txBody>
          <a:bodyPr tIns="36000"/>
          <a:lstStyle>
            <a:lvl1pPr marL="0" indent="0" algn="ctr">
              <a:lnSpc>
                <a:spcPts val="1800"/>
              </a:lnSpc>
              <a:buFontTx/>
              <a:buNone/>
              <a:defRPr sz="18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Position</a:t>
            </a:r>
            <a:endParaRPr lang="en-BG" dirty="0"/>
          </a:p>
        </p:txBody>
      </p:sp>
      <p:sp>
        <p:nvSpPr>
          <p:cNvPr id="25" name="Text Placeholder 18">
            <a:extLst>
              <a:ext uri="{FF2B5EF4-FFF2-40B4-BE49-F238E27FC236}">
                <a16:creationId xmlns:a16="http://schemas.microsoft.com/office/drawing/2014/main" id="{6D061C1C-2480-7C45-9198-00064784151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184000" y="4651970"/>
            <a:ext cx="2548838" cy="461594"/>
          </a:xfrm>
          <a:prstGeom prst="rect">
            <a:avLst/>
          </a:prstGeom>
        </p:spPr>
        <p:txBody>
          <a:bodyPr tIns="72000" anchor="ctr" anchorCtr="0"/>
          <a:lstStyle>
            <a:lvl1pPr marL="0" indent="0" algn="ctr">
              <a:lnSpc>
                <a:spcPts val="1800"/>
              </a:lnSpc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 dirty="0"/>
              <a:t>Name 3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C030B60D-3B29-7F43-A48B-809DF02EE93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916988" y="5162992"/>
            <a:ext cx="2552700" cy="864746"/>
          </a:xfrm>
          <a:prstGeom prst="rect">
            <a:avLst/>
          </a:prstGeom>
        </p:spPr>
        <p:txBody>
          <a:bodyPr tIns="36000"/>
          <a:lstStyle>
            <a:lvl1pPr marL="0" indent="0" algn="ctr">
              <a:lnSpc>
                <a:spcPts val="1800"/>
              </a:lnSpc>
              <a:buFontTx/>
              <a:buNone/>
              <a:defRPr sz="18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Position</a:t>
            </a:r>
            <a:endParaRPr lang="en-BG" dirty="0"/>
          </a:p>
        </p:txBody>
      </p:sp>
      <p:sp>
        <p:nvSpPr>
          <p:cNvPr id="27" name="Text Placeholder 18">
            <a:extLst>
              <a:ext uri="{FF2B5EF4-FFF2-40B4-BE49-F238E27FC236}">
                <a16:creationId xmlns:a16="http://schemas.microsoft.com/office/drawing/2014/main" id="{35C3F06D-45B7-6D48-B4D3-D9BA24DD499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916988" y="4651970"/>
            <a:ext cx="2552700" cy="461594"/>
          </a:xfrm>
          <a:prstGeom prst="rect">
            <a:avLst/>
          </a:prstGeom>
        </p:spPr>
        <p:txBody>
          <a:bodyPr tIns="72000" anchor="ctr" anchorCtr="0"/>
          <a:lstStyle>
            <a:lvl1pPr marL="0" indent="0" algn="ctr">
              <a:lnSpc>
                <a:spcPts val="1800"/>
              </a:lnSpc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 dirty="0"/>
              <a:t>Name 4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78F34310-4CB9-974D-814E-3A8A1EACCC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56782" y="574918"/>
            <a:ext cx="5278437" cy="684212"/>
          </a:xfrm>
          <a:prstGeom prst="rect">
            <a:avLst/>
          </a:prstGeom>
        </p:spPr>
        <p:txBody>
          <a:bodyPr tIns="108000" anchor="t">
            <a:noAutofit/>
          </a:bodyPr>
          <a:lstStyle>
            <a:lvl1pPr algn="ctr">
              <a:lnSpc>
                <a:spcPts val="3600"/>
              </a:lnSpc>
              <a:defRPr lang="en-US" sz="4000" b="1" i="0" kern="0" spc="-100" baseline="0" noProof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Team</a:t>
            </a:r>
          </a:p>
        </p:txBody>
      </p:sp>
      <p:sp>
        <p:nvSpPr>
          <p:cNvPr id="21" name="Picture Placeholder 1">
            <a:extLst>
              <a:ext uri="{FF2B5EF4-FFF2-40B4-BE49-F238E27FC236}">
                <a16:creationId xmlns:a16="http://schemas.microsoft.com/office/drawing/2014/main" id="{6C685FB3-0594-E44D-9C2D-EEFCC1F8D2E1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694831" y="2355867"/>
            <a:ext cx="2062127" cy="2062127"/>
          </a:xfrm>
          <a:prstGeom prst="ellipse">
            <a:avLst/>
          </a:prstGeom>
          <a:solidFill>
            <a:srgbClr val="DDE9F7"/>
          </a:solidFill>
        </p:spPr>
        <p:txBody>
          <a:bodyPr/>
          <a:lstStyle>
            <a:lvl1pPr marL="0" indent="0" algn="ctr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hr-HR" dirty="0"/>
              <a:t>Picture</a:t>
            </a:r>
            <a:endParaRPr lang="en-US" dirty="0"/>
          </a:p>
        </p:txBody>
      </p:sp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E7BCD6F9-B8A0-3E40-8E91-435E8E4F7E36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6435044" y="2344391"/>
            <a:ext cx="2073604" cy="2073604"/>
          </a:xfrm>
          <a:prstGeom prst="ellipse">
            <a:avLst/>
          </a:prstGeom>
          <a:solidFill>
            <a:srgbClr val="DDE9F7"/>
          </a:solidFill>
        </p:spPr>
        <p:txBody>
          <a:bodyPr/>
          <a:lstStyle>
            <a:lvl1pPr marL="0" indent="0" algn="ctr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hr-HR" dirty="0"/>
              <a:t>Picture</a:t>
            </a:r>
            <a:endParaRPr lang="en-US" dirty="0"/>
          </a:p>
        </p:txBody>
      </p:sp>
      <p:sp>
        <p:nvSpPr>
          <p:cNvPr id="28" name="Picture Placeholder 1">
            <a:extLst>
              <a:ext uri="{FF2B5EF4-FFF2-40B4-BE49-F238E27FC236}">
                <a16:creationId xmlns:a16="http://schemas.microsoft.com/office/drawing/2014/main" id="{DF915852-F139-C84F-A6C2-A2EF5EAF75F2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9157330" y="2344391"/>
            <a:ext cx="2073603" cy="2073603"/>
          </a:xfrm>
          <a:prstGeom prst="ellipse">
            <a:avLst/>
          </a:prstGeom>
          <a:solidFill>
            <a:srgbClr val="DDE9F7"/>
          </a:solidFill>
        </p:spPr>
        <p:txBody>
          <a:bodyPr/>
          <a:lstStyle>
            <a:lvl1pPr marL="0" indent="0" algn="ctr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hr-HR" dirty="0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183972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A364C0F-A4D3-DC42-8C95-4B00E26A0812}"/>
              </a:ext>
            </a:extLst>
          </p:cNvPr>
          <p:cNvSpPr/>
          <p:nvPr userDrawn="1"/>
        </p:nvSpPr>
        <p:spPr>
          <a:xfrm>
            <a:off x="0" y="0"/>
            <a:ext cx="12192000" cy="1677987"/>
          </a:xfrm>
          <a:prstGeom prst="rect">
            <a:avLst/>
          </a:prstGeom>
          <a:solidFill>
            <a:schemeClr val="accent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G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 descr="Shape, square&#10;&#10;Description automatically generated">
            <a:extLst>
              <a:ext uri="{FF2B5EF4-FFF2-40B4-BE49-F238E27FC236}">
                <a16:creationId xmlns:a16="http://schemas.microsoft.com/office/drawing/2014/main" id="{4B022A70-9734-423F-8439-201D9114DB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965"/>
          <a:stretch/>
        </p:blipFill>
        <p:spPr>
          <a:xfrm>
            <a:off x="0" y="0"/>
            <a:ext cx="12192000" cy="1677988"/>
          </a:xfrm>
          <a:prstGeom prst="rect">
            <a:avLst/>
          </a:prstGeom>
        </p:spPr>
      </p:pic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E90CBC2F-2FE6-E849-A23E-6624002BB1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2313" y="5162992"/>
            <a:ext cx="2526055" cy="864746"/>
          </a:xfrm>
          <a:prstGeom prst="rect">
            <a:avLst/>
          </a:prstGeom>
        </p:spPr>
        <p:txBody>
          <a:bodyPr tIns="36000"/>
          <a:lstStyle>
            <a:lvl1pPr marL="0" indent="0" algn="ctr">
              <a:lnSpc>
                <a:spcPts val="1800"/>
              </a:lnSpc>
              <a:buFontTx/>
              <a:buNone/>
              <a:defRPr sz="18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Position</a:t>
            </a:r>
            <a:endParaRPr lang="en-BG" dirty="0"/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BEF25CF4-59B3-BE42-81BA-5E46207363B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2313" y="4651970"/>
            <a:ext cx="2526055" cy="461594"/>
          </a:xfrm>
          <a:prstGeom prst="rect">
            <a:avLst/>
          </a:prstGeom>
        </p:spPr>
        <p:txBody>
          <a:bodyPr tIns="72000" anchor="ctr" anchorCtr="0"/>
          <a:lstStyle>
            <a:lvl1pPr marL="0" indent="0" algn="ctr">
              <a:lnSpc>
                <a:spcPts val="1800"/>
              </a:lnSpc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 dirty="0"/>
              <a:t>Name 1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435FD64-44C1-0E48-B5ED-A66844CC2EA7}"/>
              </a:ext>
            </a:extLst>
          </p:cNvPr>
          <p:cNvSpPr txBox="1"/>
          <p:nvPr userDrawn="1"/>
        </p:nvSpPr>
        <p:spPr>
          <a:xfrm>
            <a:off x="1742303" y="4893276"/>
            <a:ext cx="0" cy="0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algn="l"/>
            <a:endParaRPr lang="en-BG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Text Placeholder 20">
            <a:extLst>
              <a:ext uri="{FF2B5EF4-FFF2-40B4-BE49-F238E27FC236}">
                <a16:creationId xmlns:a16="http://schemas.microsoft.com/office/drawing/2014/main" id="{70B6830F-8A50-3147-B040-0115CA5BF87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53156" y="5162992"/>
            <a:ext cx="2547594" cy="864746"/>
          </a:xfrm>
          <a:prstGeom prst="rect">
            <a:avLst/>
          </a:prstGeom>
        </p:spPr>
        <p:txBody>
          <a:bodyPr tIns="36000"/>
          <a:lstStyle>
            <a:lvl1pPr marL="0" indent="0" algn="ctr">
              <a:lnSpc>
                <a:spcPts val="1800"/>
              </a:lnSpc>
              <a:buFontTx/>
              <a:buNone/>
              <a:defRPr sz="18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Position</a:t>
            </a:r>
            <a:endParaRPr lang="en-BG" dirty="0"/>
          </a:p>
        </p:txBody>
      </p:sp>
      <p:sp>
        <p:nvSpPr>
          <p:cNvPr id="31" name="Text Placeholder 18">
            <a:extLst>
              <a:ext uri="{FF2B5EF4-FFF2-40B4-BE49-F238E27FC236}">
                <a16:creationId xmlns:a16="http://schemas.microsoft.com/office/drawing/2014/main" id="{FC91BA71-069A-8F4D-80E2-C8697BB4234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53156" y="4651970"/>
            <a:ext cx="2547594" cy="461594"/>
          </a:xfrm>
          <a:prstGeom prst="rect">
            <a:avLst/>
          </a:prstGeom>
        </p:spPr>
        <p:txBody>
          <a:bodyPr tIns="72000" anchor="ctr" anchorCtr="0"/>
          <a:lstStyle>
            <a:lvl1pPr marL="0" indent="0" algn="ctr">
              <a:lnSpc>
                <a:spcPts val="1800"/>
              </a:lnSpc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 dirty="0"/>
              <a:t>Name 2</a:t>
            </a:r>
          </a:p>
        </p:txBody>
      </p:sp>
      <p:sp>
        <p:nvSpPr>
          <p:cNvPr id="32" name="Text Placeholder 20">
            <a:extLst>
              <a:ext uri="{FF2B5EF4-FFF2-40B4-BE49-F238E27FC236}">
                <a16:creationId xmlns:a16="http://schemas.microsoft.com/office/drawing/2014/main" id="{05787F03-F6FF-FC4D-9ED1-40A7F50C89F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84000" y="5162992"/>
            <a:ext cx="2548838" cy="864746"/>
          </a:xfrm>
          <a:prstGeom prst="rect">
            <a:avLst/>
          </a:prstGeom>
        </p:spPr>
        <p:txBody>
          <a:bodyPr tIns="36000"/>
          <a:lstStyle>
            <a:lvl1pPr marL="0" indent="0" algn="ctr">
              <a:lnSpc>
                <a:spcPts val="1800"/>
              </a:lnSpc>
              <a:buFontTx/>
              <a:buNone/>
              <a:defRPr sz="18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Position</a:t>
            </a:r>
            <a:endParaRPr lang="en-BG" dirty="0"/>
          </a:p>
        </p:txBody>
      </p:sp>
      <p:sp>
        <p:nvSpPr>
          <p:cNvPr id="33" name="Text Placeholder 18">
            <a:extLst>
              <a:ext uri="{FF2B5EF4-FFF2-40B4-BE49-F238E27FC236}">
                <a16:creationId xmlns:a16="http://schemas.microsoft.com/office/drawing/2014/main" id="{5616BBF2-7973-DE49-9FF2-B67B2FF846B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184000" y="4651970"/>
            <a:ext cx="2548838" cy="461594"/>
          </a:xfrm>
          <a:prstGeom prst="rect">
            <a:avLst/>
          </a:prstGeom>
        </p:spPr>
        <p:txBody>
          <a:bodyPr tIns="72000" anchor="ctr" anchorCtr="0"/>
          <a:lstStyle>
            <a:lvl1pPr marL="0" indent="0" algn="ctr">
              <a:lnSpc>
                <a:spcPts val="1800"/>
              </a:lnSpc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 dirty="0"/>
              <a:t>Name 3</a:t>
            </a: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6AD7FE0B-1E24-264D-AA5F-C85BAFD01DD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916988" y="5162992"/>
            <a:ext cx="2552700" cy="864746"/>
          </a:xfrm>
          <a:prstGeom prst="rect">
            <a:avLst/>
          </a:prstGeom>
        </p:spPr>
        <p:txBody>
          <a:bodyPr tIns="36000"/>
          <a:lstStyle>
            <a:lvl1pPr marL="0" indent="0" algn="ctr">
              <a:lnSpc>
                <a:spcPts val="1800"/>
              </a:lnSpc>
              <a:buFontTx/>
              <a:buNone/>
              <a:defRPr sz="18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Position</a:t>
            </a:r>
            <a:endParaRPr lang="en-BG" dirty="0"/>
          </a:p>
        </p:txBody>
      </p:sp>
      <p:sp>
        <p:nvSpPr>
          <p:cNvPr id="35" name="Text Placeholder 18">
            <a:extLst>
              <a:ext uri="{FF2B5EF4-FFF2-40B4-BE49-F238E27FC236}">
                <a16:creationId xmlns:a16="http://schemas.microsoft.com/office/drawing/2014/main" id="{FE495FE2-22D3-FB42-AF76-F86CF0F945E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916988" y="4651970"/>
            <a:ext cx="2552700" cy="461594"/>
          </a:xfrm>
          <a:prstGeom prst="rect">
            <a:avLst/>
          </a:prstGeom>
        </p:spPr>
        <p:txBody>
          <a:bodyPr tIns="72000" anchor="ctr" anchorCtr="0"/>
          <a:lstStyle>
            <a:lvl1pPr marL="0" indent="0" algn="ctr">
              <a:lnSpc>
                <a:spcPts val="1800"/>
              </a:lnSpc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 dirty="0"/>
              <a:t>Name 4</a:t>
            </a:r>
          </a:p>
        </p:txBody>
      </p:sp>
      <p:sp>
        <p:nvSpPr>
          <p:cNvPr id="18" name="Picture Placeholder 1">
            <a:extLst>
              <a:ext uri="{FF2B5EF4-FFF2-40B4-BE49-F238E27FC236}">
                <a16:creationId xmlns:a16="http://schemas.microsoft.com/office/drawing/2014/main" id="{0331D3FB-3327-7240-B6AA-7B62FBBF4CFC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953134" y="2355867"/>
            <a:ext cx="2062128" cy="2062128"/>
          </a:xfrm>
          <a:prstGeom prst="ellipse">
            <a:avLst/>
          </a:prstGeom>
          <a:solidFill>
            <a:srgbClr val="DDE9F7"/>
          </a:solidFill>
        </p:spPr>
        <p:txBody>
          <a:bodyPr/>
          <a:lstStyle>
            <a:lvl1pPr marL="0" indent="0" algn="ctr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hr-HR" dirty="0"/>
              <a:t>Picture</a:t>
            </a:r>
            <a:endParaRPr lang="en-US" dirty="0"/>
          </a:p>
        </p:txBody>
      </p:sp>
      <p:sp>
        <p:nvSpPr>
          <p:cNvPr id="20" name="Picture Placeholder 1">
            <a:extLst>
              <a:ext uri="{FF2B5EF4-FFF2-40B4-BE49-F238E27FC236}">
                <a16:creationId xmlns:a16="http://schemas.microsoft.com/office/drawing/2014/main" id="{C95E4137-4213-BE4A-9909-08534641CCEE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694831" y="2355867"/>
            <a:ext cx="2062127" cy="2062127"/>
          </a:xfrm>
          <a:prstGeom prst="ellipse">
            <a:avLst/>
          </a:prstGeom>
          <a:solidFill>
            <a:srgbClr val="DDE9F7"/>
          </a:solidFill>
        </p:spPr>
        <p:txBody>
          <a:bodyPr/>
          <a:lstStyle>
            <a:lvl1pPr marL="0" indent="0" algn="ctr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hr-HR" dirty="0"/>
              <a:t>Picture</a:t>
            </a:r>
            <a:endParaRPr lang="en-US" dirty="0"/>
          </a:p>
        </p:txBody>
      </p:sp>
      <p:sp>
        <p:nvSpPr>
          <p:cNvPr id="23" name="Picture Placeholder 1">
            <a:extLst>
              <a:ext uri="{FF2B5EF4-FFF2-40B4-BE49-F238E27FC236}">
                <a16:creationId xmlns:a16="http://schemas.microsoft.com/office/drawing/2014/main" id="{5FCAAEDD-145E-714F-8193-C07FFCB234C5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6435044" y="2344391"/>
            <a:ext cx="2073604" cy="2073604"/>
          </a:xfrm>
          <a:prstGeom prst="ellipse">
            <a:avLst/>
          </a:prstGeom>
          <a:solidFill>
            <a:srgbClr val="DDE9F7"/>
          </a:solidFill>
        </p:spPr>
        <p:txBody>
          <a:bodyPr/>
          <a:lstStyle>
            <a:lvl1pPr marL="0" indent="0" algn="ctr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hr-HR" dirty="0"/>
              <a:t>Picture</a:t>
            </a:r>
            <a:endParaRPr lang="en-US" dirty="0"/>
          </a:p>
        </p:txBody>
      </p:sp>
      <p:sp>
        <p:nvSpPr>
          <p:cNvPr id="24" name="Picture Placeholder 1">
            <a:extLst>
              <a:ext uri="{FF2B5EF4-FFF2-40B4-BE49-F238E27FC236}">
                <a16:creationId xmlns:a16="http://schemas.microsoft.com/office/drawing/2014/main" id="{21AE5383-EC13-FE4D-996B-BE10161B0155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9157330" y="2344391"/>
            <a:ext cx="2073603" cy="2073603"/>
          </a:xfrm>
          <a:prstGeom prst="ellipse">
            <a:avLst/>
          </a:prstGeom>
          <a:solidFill>
            <a:srgbClr val="DDE9F7"/>
          </a:solidFill>
        </p:spPr>
        <p:txBody>
          <a:bodyPr/>
          <a:lstStyle>
            <a:lvl1pPr marL="0" indent="0" algn="ctr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hr-HR" dirty="0"/>
              <a:t>Picture</a:t>
            </a:r>
            <a:endParaRPr lang="en-US" dirty="0"/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D17A4870-A345-AB4C-A5EA-F85DC0A3B6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56782" y="574918"/>
            <a:ext cx="5278437" cy="684212"/>
          </a:xfrm>
          <a:prstGeom prst="rect">
            <a:avLst/>
          </a:prstGeom>
        </p:spPr>
        <p:txBody>
          <a:bodyPr tIns="108000" anchor="t">
            <a:noAutofit/>
          </a:bodyPr>
          <a:lstStyle>
            <a:lvl1pPr algn="ctr">
              <a:lnSpc>
                <a:spcPts val="3600"/>
              </a:lnSpc>
              <a:defRPr lang="en-US" sz="4000" b="1" i="0" kern="0" spc="-100" baseline="0" noProof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Team</a:t>
            </a:r>
          </a:p>
        </p:txBody>
      </p:sp>
    </p:spTree>
    <p:extLst>
      <p:ext uri="{BB962C8B-B14F-4D97-AF65-F5344CB8AC3E}">
        <p14:creationId xmlns:p14="http://schemas.microsoft.com/office/powerpoint/2010/main" val="419303599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ller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880A557-7E11-DF49-8186-7D04ACC7527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23600" y="1447799"/>
            <a:ext cx="3459162" cy="2289176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BG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B7890FB8-2450-AF47-8169-9C8D93F61AF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366419" y="1447799"/>
            <a:ext cx="3459162" cy="2289176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BG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07D44DAC-CC6B-0F46-B9C2-4D41210383D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012144" y="1447799"/>
            <a:ext cx="3459162" cy="2289176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BG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B1EB8CBC-CB7B-C44C-95E3-E1FED843D54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23600" y="3968749"/>
            <a:ext cx="3459162" cy="2268539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BG"/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7C37F377-AED4-8643-ABAC-55E992161DA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66419" y="3968749"/>
            <a:ext cx="3459162" cy="2268539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BG"/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E4E77DCE-0609-D747-AD06-96FFA6F1B7F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12144" y="3968749"/>
            <a:ext cx="3459162" cy="2268539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BG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5EC4521C-3907-8345-BCE7-B2B57F767D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2313" y="538163"/>
            <a:ext cx="10748993" cy="677861"/>
          </a:xfrm>
        </p:spPr>
        <p:txBody>
          <a:bodyPr tIns="108000"/>
          <a:lstStyle/>
          <a:p>
            <a:r>
              <a:rPr lang="en-GB" dirty="0"/>
              <a:t>Gallery</a:t>
            </a:r>
            <a:endParaRPr lang="en-BG" dirty="0"/>
          </a:p>
        </p:txBody>
      </p:sp>
    </p:spTree>
    <p:extLst>
      <p:ext uri="{BB962C8B-B14F-4D97-AF65-F5344CB8AC3E}">
        <p14:creationId xmlns:p14="http://schemas.microsoft.com/office/powerpoint/2010/main" val="36464458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ller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880A557-7E11-DF49-8186-7D04ACC7527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23599" y="540592"/>
            <a:ext cx="5277151" cy="3196383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BG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B1EB8CBC-CB7B-C44C-95E3-E1FED843D54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23600" y="3968749"/>
            <a:ext cx="3459162" cy="2268539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BG"/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7C37F377-AED4-8643-ABAC-55E992161DA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66419" y="3968749"/>
            <a:ext cx="3459162" cy="2268539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BG"/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E4E77DCE-0609-D747-AD06-96FFA6F1B7F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12144" y="3968749"/>
            <a:ext cx="3459162" cy="2268539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BG"/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ECD3F542-BAEB-BF43-8CC7-6AE1B6CD7BA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186249" y="540592"/>
            <a:ext cx="5285057" cy="3196383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70620021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llery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07D44DAC-CC6B-0F46-B9C2-4D41210383D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474953" y="538162"/>
            <a:ext cx="7994735" cy="5700713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BG"/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C1BB0AAA-8E52-7C4C-BDDE-3224E5B3F04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22313" y="538162"/>
            <a:ext cx="2528887" cy="1772343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BG" dirty="0"/>
          </a:p>
        </p:txBody>
      </p:sp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8F03D34F-2A66-9E43-994D-383F3ECA192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22313" y="2502347"/>
            <a:ext cx="2528887" cy="1772343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BG"/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85658B3-58BD-0048-9121-06A4152FE3D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22313" y="4466532"/>
            <a:ext cx="2528887" cy="1772343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157254699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1">
            <a:extLst>
              <a:ext uri="{FF2B5EF4-FFF2-40B4-BE49-F238E27FC236}">
                <a16:creationId xmlns:a16="http://schemas.microsoft.com/office/drawing/2014/main" id="{5FB11B1B-3F3D-604C-9EB4-5E5126F9567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88825" cy="686020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Ins="503999" anchor="ctr" anchorCtr="0"/>
          <a:lstStyle>
            <a:lvl1pPr marL="0" indent="0" algn="r">
              <a:lnSpc>
                <a:spcPts val="3860"/>
              </a:lnSpc>
              <a:buFontTx/>
              <a:buNone/>
              <a:defRPr sz="4800">
                <a:solidFill>
                  <a:srgbClr val="F162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BG" dirty="0"/>
              <a:t>                Picture </a:t>
            </a:r>
            <a:br>
              <a:rPr lang="en-BG" dirty="0"/>
            </a:br>
            <a:r>
              <a:rPr lang="en-BG" dirty="0"/>
              <a:t>Placeholder</a:t>
            </a: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DC19264-1961-4652-B02A-E3432B012D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6646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292E8C3-F64F-4C68-BE86-5BC9BDB4D75C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69766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 dirty="0">
              <a:solidFill>
                <a:schemeClr val="bg1">
                  <a:alpha val="69766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97196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Green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71724D4-36EF-F249-838C-3689608AF6E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G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AFED4F88-4F8F-456C-B545-1EA180BAE73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1763375" cy="6858000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83868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3">
            <a:extLst>
              <a:ext uri="{FF2B5EF4-FFF2-40B4-BE49-F238E27FC236}">
                <a16:creationId xmlns:a16="http://schemas.microsoft.com/office/drawing/2014/main" id="{42615BD2-DBC2-4343-8DF8-9969F28A3FE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426315" y="3272915"/>
            <a:ext cx="1342800" cy="311474"/>
          </a:xfrm>
          <a:prstGeom prst="rect">
            <a:avLst/>
          </a:prstGeom>
        </p:spPr>
      </p:pic>
      <p:sp>
        <p:nvSpPr>
          <p:cNvPr id="11" name="Title 3">
            <a:extLst>
              <a:ext uri="{FF2B5EF4-FFF2-40B4-BE49-F238E27FC236}">
                <a16:creationId xmlns:a16="http://schemas.microsoft.com/office/drawing/2014/main" id="{EB967D1A-E798-264D-B1A3-AC4BE60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0641" y="3736975"/>
            <a:ext cx="5261778" cy="1383817"/>
          </a:xfrm>
          <a:prstGeom prst="rect">
            <a:avLst/>
          </a:prstGeom>
        </p:spPr>
        <p:txBody>
          <a:bodyPr vert="horz" lIns="0" tIns="108000" rIns="0" bIns="0" anchor="t" anchorCtr="0">
            <a:noAutofit/>
          </a:bodyPr>
          <a:lstStyle>
            <a:lvl1pPr>
              <a:lnSpc>
                <a:spcPts val="3600"/>
              </a:lnSpc>
              <a:defRPr sz="4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Up to</a:t>
            </a:r>
            <a:br>
              <a:rPr lang="en-GB" dirty="0"/>
            </a:br>
            <a:r>
              <a:rPr lang="en-GB" dirty="0"/>
              <a:t>Three </a:t>
            </a:r>
            <a:br>
              <a:rPr lang="en-GB" dirty="0"/>
            </a:br>
            <a:r>
              <a:rPr lang="en-GB" dirty="0"/>
              <a:t>Lines</a:t>
            </a:r>
            <a:endParaRPr lang="en-BG" dirty="0"/>
          </a:p>
        </p:txBody>
      </p:sp>
      <p:sp>
        <p:nvSpPr>
          <p:cNvPr id="10" name="Rectangle 6">
            <a:extLst>
              <a:ext uri="{FF2B5EF4-FFF2-40B4-BE49-F238E27FC236}">
                <a16:creationId xmlns:a16="http://schemas.microsoft.com/office/drawing/2014/main" id="{7C3FF833-110B-2842-8181-E026C0AE7476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722312" y="5273378"/>
            <a:ext cx="5278437" cy="441487"/>
          </a:xfrm>
          <a:prstGeom prst="rect">
            <a:avLst/>
          </a:prstGeom>
          <a:ln algn="ctr"/>
        </p:spPr>
        <p:txBody>
          <a:bodyPr lIns="0" tIns="0" rIns="0" bIns="0" anchor="ctr" anchorCtr="0"/>
          <a:lstStyle>
            <a:lvl1pPr marL="0" indent="0">
              <a:buClrTx/>
              <a:buFontTx/>
              <a:buNone/>
              <a:defRPr sz="2400" i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r>
              <a:rPr lang="en-US" dirty="0"/>
              <a:t>Sub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03112254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A64ED-6E44-CE40-884C-C1F33608612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30519" y="2877420"/>
            <a:ext cx="4730962" cy="1103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84708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rogress Outro no text.mp4" descr="Progress Outro no text.mp4">
            <a:hlinkClick r:id="" action="ppaction://media"/>
            <a:extLst>
              <a:ext uri="{FF2B5EF4-FFF2-40B4-BE49-F238E27FC236}">
                <a16:creationId xmlns:a16="http://schemas.microsoft.com/office/drawing/2014/main" id="{5A546D01-834F-CB40-93EC-185C473ACE24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ABA8C2F-EEB5-964C-B283-39542BF4C40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30519" y="2877420"/>
            <a:ext cx="4730962" cy="1103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71157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8" dur="6016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9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3652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7">
            <a:extLst>
              <a:ext uri="{FF2B5EF4-FFF2-40B4-BE49-F238E27FC236}">
                <a16:creationId xmlns:a16="http://schemas.microsoft.com/office/drawing/2014/main" id="{926C0B3B-05EA-CB4C-8298-3E30D48F23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4"/>
            <a:ext cx="5278437" cy="1130526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en-BG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BEB901A0-A63B-44BE-9928-1BA455334FD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998463" y="0"/>
            <a:ext cx="6193537" cy="6858000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005EFEB-1D93-3249-BDDE-45B54D5103C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2313" y="1814513"/>
            <a:ext cx="5276850" cy="44878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17628811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20581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7">
            <a:extLst>
              <a:ext uri="{FF2B5EF4-FFF2-40B4-BE49-F238E27FC236}">
                <a16:creationId xmlns:a16="http://schemas.microsoft.com/office/drawing/2014/main" id="{6C447A6B-E87C-9A42-8E46-8CE8E1730B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4"/>
            <a:ext cx="5278437" cy="1130526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BG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20CF4B4-0184-4909-9086-FB77EB4D5C2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558977" y="0"/>
            <a:ext cx="6633023" cy="6858594"/>
          </a:xfrm>
          <a:prstGeom prst="rect">
            <a:avLst/>
          </a:prstGeom>
        </p:spPr>
      </p:pic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5456E819-62F6-6340-8234-646A501DFD0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2313" y="1814513"/>
            <a:ext cx="5276850" cy="44878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30471169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Background pattern&#10;&#10;Description automatically generated">
            <a:extLst>
              <a:ext uri="{FF2B5EF4-FFF2-40B4-BE49-F238E27FC236}">
                <a16:creationId xmlns:a16="http://schemas.microsoft.com/office/drawing/2014/main" id="{74C79588-1FE1-4CDA-B32E-63BF1A99933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6B2E4E0-B8DD-4922-949D-C7084FC2C8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1641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21E477A-A006-6C49-BE36-436BBA49EDFA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69766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 dirty="0">
              <a:solidFill>
                <a:schemeClr val="bg1">
                  <a:alpha val="69766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93D826D9-3D3E-476E-A11B-913B3AC8767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494075" y="6453499"/>
            <a:ext cx="939600" cy="217948"/>
          </a:xfrm>
          <a:prstGeom prst="rect">
            <a:avLst/>
          </a:prstGeom>
        </p:spPr>
      </p:pic>
      <p:sp>
        <p:nvSpPr>
          <p:cNvPr id="7" name="Rectangle 3">
            <a:extLst>
              <a:ext uri="{FF2B5EF4-FFF2-40B4-BE49-F238E27FC236}">
                <a16:creationId xmlns:a16="http://schemas.microsoft.com/office/drawing/2014/main" id="{5B538863-68A3-644B-8B9A-9DB40A50F50B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2609126" y="2592388"/>
            <a:ext cx="6973747" cy="1606550"/>
          </a:xfrm>
          <a:prstGeom prst="rect">
            <a:avLst/>
          </a:prstGeom>
          <a:ln algn="ctr"/>
        </p:spPr>
        <p:txBody>
          <a:bodyPr vert="horz" lIns="0" tIns="0" rIns="0" bIns="0" anchor="ctr" anchorCtr="0">
            <a:noAutofit/>
          </a:bodyPr>
          <a:lstStyle>
            <a:lvl1pPr algn="ctr">
              <a:lnSpc>
                <a:spcPts val="3600"/>
              </a:lnSpc>
              <a:defRPr sz="4000" b="1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r>
              <a:rPr lang="en-US" dirty="0"/>
              <a:t>Centered Title Style</a:t>
            </a:r>
            <a:br>
              <a:rPr lang="en-US" dirty="0"/>
            </a:br>
            <a:r>
              <a:rPr lang="en-US" dirty="0"/>
              <a:t>Up to</a:t>
            </a:r>
            <a:br>
              <a:rPr lang="en-US" dirty="0"/>
            </a:br>
            <a:r>
              <a:rPr lang="en-US" dirty="0"/>
              <a:t>Three Lin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4F55290-69B1-864A-8ECE-A49757FA39FA}"/>
              </a:ext>
            </a:extLst>
          </p:cNvPr>
          <p:cNvSpPr txBox="1"/>
          <p:nvPr userDrawn="1"/>
        </p:nvSpPr>
        <p:spPr>
          <a:xfrm>
            <a:off x="4507424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</a:t>
            </a:r>
            <a:r>
              <a:rPr lang="bg-BG" sz="600" b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en-US" sz="600" b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600" b="0" i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0152703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Background pattern&#10;&#10;Description automatically generated">
            <a:extLst>
              <a:ext uri="{FF2B5EF4-FFF2-40B4-BE49-F238E27FC236}">
                <a16:creationId xmlns:a16="http://schemas.microsoft.com/office/drawing/2014/main" id="{664C5359-6168-450F-A3B2-F9B3EC03B1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CB40B33-A7C9-794A-8DD4-F029935874E2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69766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 dirty="0">
              <a:solidFill>
                <a:schemeClr val="bg1">
                  <a:alpha val="69766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550B0453-9552-405E-BEEB-A3A1CB1E158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94075" y="6453499"/>
            <a:ext cx="939600" cy="217948"/>
          </a:xfrm>
          <a:prstGeom prst="rect">
            <a:avLst/>
          </a:prstGeom>
        </p:spPr>
      </p:pic>
      <p:sp>
        <p:nvSpPr>
          <p:cNvPr id="7" name="Rectangle 3">
            <a:extLst>
              <a:ext uri="{FF2B5EF4-FFF2-40B4-BE49-F238E27FC236}">
                <a16:creationId xmlns:a16="http://schemas.microsoft.com/office/drawing/2014/main" id="{65F74E2B-B2FC-9A42-9B6A-5C0ED73A15B6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2609126" y="2592388"/>
            <a:ext cx="6973747" cy="1606550"/>
          </a:xfrm>
          <a:prstGeom prst="rect">
            <a:avLst/>
          </a:prstGeom>
          <a:ln algn="ctr"/>
        </p:spPr>
        <p:txBody>
          <a:bodyPr vert="horz" lIns="0" tIns="0" rIns="0" bIns="0" anchor="ctr" anchorCtr="0">
            <a:noAutofit/>
          </a:bodyPr>
          <a:lstStyle>
            <a:lvl1pPr algn="ctr">
              <a:lnSpc>
                <a:spcPts val="3600"/>
              </a:lnSpc>
              <a:defRPr sz="4000" b="1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r>
              <a:rPr lang="en-US" dirty="0"/>
              <a:t>Centered Title Style</a:t>
            </a:r>
            <a:br>
              <a:rPr lang="en-US" dirty="0"/>
            </a:br>
            <a:r>
              <a:rPr lang="en-US" dirty="0"/>
              <a:t>Up to</a:t>
            </a:r>
            <a:br>
              <a:rPr lang="en-US" dirty="0"/>
            </a:br>
            <a:r>
              <a:rPr lang="en-US" dirty="0"/>
              <a:t>Three Lin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86C245B-9648-EA4E-836E-6BBB5FA39829}"/>
              </a:ext>
            </a:extLst>
          </p:cNvPr>
          <p:cNvSpPr txBox="1"/>
          <p:nvPr userDrawn="1"/>
        </p:nvSpPr>
        <p:spPr>
          <a:xfrm>
            <a:off x="4507424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</a:t>
            </a:r>
            <a:r>
              <a:rPr lang="bg-BG" sz="600" b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en-US" sz="600" b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600" b="0" i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11629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tags" Target="../tags/tag2.xml"/><Relationship Id="rId58" Type="http://schemas.openxmlformats.org/officeDocument/2006/relationships/image" Target="../media/image3.svg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hyperlink" Target="https://www.progress.com/" TargetMode="Externa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D4BAA7-03DD-44E7-AAFA-2970D3D54D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3"/>
            </p:custDataLst>
            <p:extLst>
              <p:ext uri="{D42A27DB-BD31-4B8C-83A1-F6EECF244321}">
                <p14:modId xmlns:p14="http://schemas.microsoft.com/office/powerpoint/2010/main" val="27971184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4" imgW="349" imgH="349" progId="TCLayout.ActiveDocument.1">
                  <p:embed/>
                </p:oleObj>
              </mc:Choice>
              <mc:Fallback>
                <p:oleObj name="think-cell Slide" r:id="rId54" imgW="349" imgH="34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7A4882C-43B6-4419-AD7D-B146CF7A77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23600" y="1677989"/>
            <a:ext cx="10746088" cy="453699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  <a:endParaRPr lang="bg-BG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 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th Level</a:t>
            </a:r>
          </a:p>
          <a:p>
            <a:pPr lvl="4"/>
            <a:endParaRPr lang="en-US" dirty="0"/>
          </a:p>
        </p:txBody>
      </p:sp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736C8E14-F9BC-E647-849A-249E89A17F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600" y="538163"/>
            <a:ext cx="10746088" cy="909637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BG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B7AB045D-1123-C741-B93A-5E364D752A5C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0" i="0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0" i="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D00406F-91C3-374E-A473-E987487E33DA}"/>
              </a:ext>
            </a:extLst>
          </p:cNvPr>
          <p:cNvSpPr txBox="1"/>
          <p:nvPr userDrawn="1"/>
        </p:nvSpPr>
        <p:spPr>
          <a:xfrm>
            <a:off x="4507424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</a:t>
            </a:r>
            <a:r>
              <a:rPr lang="bg-BG" sz="600" b="0" spc="0" baseline="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en-US" sz="600" b="0" spc="0" baseline="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600" b="0" i="0" spc="0" baseline="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  <p:pic>
        <p:nvPicPr>
          <p:cNvPr id="9" name="Picture 2">
            <a:hlinkClick r:id="rId56"/>
            <a:extLst>
              <a:ext uri="{FF2B5EF4-FFF2-40B4-BE49-F238E27FC236}">
                <a16:creationId xmlns:a16="http://schemas.microsoft.com/office/drawing/2014/main" id="{C68807BC-3337-44CB-B44B-34553DF69BB0}"/>
              </a:ext>
            </a:extLst>
          </p:cNvPr>
          <p:cNvPicPr>
            <a:picLocks noChangeAspect="1"/>
          </p:cNvPicPr>
          <p:nvPr userDrawn="1"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8"/>
              </a:ext>
            </a:extLst>
          </a:blip>
          <a:srcRect/>
          <a:stretch/>
        </p:blipFill>
        <p:spPr>
          <a:xfrm>
            <a:off x="494075" y="6453499"/>
            <a:ext cx="939600" cy="217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54654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728" r:id="rId2"/>
    <p:sldLayoutId id="2147483861" r:id="rId3"/>
    <p:sldLayoutId id="2147483809" r:id="rId4"/>
    <p:sldLayoutId id="2147483862" r:id="rId5"/>
    <p:sldLayoutId id="2147483815" r:id="rId6"/>
    <p:sldLayoutId id="2147483817" r:id="rId7"/>
    <p:sldLayoutId id="2147483810" r:id="rId8"/>
    <p:sldLayoutId id="2147483811" r:id="rId9"/>
    <p:sldLayoutId id="2147483812" r:id="rId10"/>
    <p:sldLayoutId id="2147483840" r:id="rId11"/>
    <p:sldLayoutId id="2147483841" r:id="rId12"/>
    <p:sldLayoutId id="2147483800" r:id="rId13"/>
    <p:sldLayoutId id="2147483819" r:id="rId14"/>
    <p:sldLayoutId id="2147483820" r:id="rId15"/>
    <p:sldLayoutId id="2147483649" r:id="rId16"/>
    <p:sldLayoutId id="2147483727" r:id="rId17"/>
    <p:sldLayoutId id="2147483859" r:id="rId18"/>
    <p:sldLayoutId id="2147483857" r:id="rId19"/>
    <p:sldLayoutId id="2147483858" r:id="rId20"/>
    <p:sldLayoutId id="2147483845" r:id="rId21"/>
    <p:sldLayoutId id="2147483726" r:id="rId22"/>
    <p:sldLayoutId id="2147483821" r:id="rId23"/>
    <p:sldLayoutId id="2147483822" r:id="rId24"/>
    <p:sldLayoutId id="2147483824" r:id="rId25"/>
    <p:sldLayoutId id="2147483827" r:id="rId26"/>
    <p:sldLayoutId id="2147483826" r:id="rId27"/>
    <p:sldLayoutId id="2147483730" r:id="rId28"/>
    <p:sldLayoutId id="2147483837" r:id="rId29"/>
    <p:sldLayoutId id="2147483851" r:id="rId30"/>
    <p:sldLayoutId id="2147483852" r:id="rId31"/>
    <p:sldLayoutId id="2147483732" r:id="rId32"/>
    <p:sldLayoutId id="2147483838" r:id="rId33"/>
    <p:sldLayoutId id="2147483839" r:id="rId34"/>
    <p:sldLayoutId id="2147483853" r:id="rId35"/>
    <p:sldLayoutId id="2147483854" r:id="rId36"/>
    <p:sldLayoutId id="2147483835" r:id="rId37"/>
    <p:sldLayoutId id="2147483836" r:id="rId38"/>
    <p:sldLayoutId id="2147483792" r:id="rId39"/>
    <p:sldLayoutId id="2147483799" r:id="rId40"/>
    <p:sldLayoutId id="2147483793" r:id="rId41"/>
    <p:sldLayoutId id="2147483823" r:id="rId42"/>
    <p:sldLayoutId id="2147483798" r:id="rId43"/>
    <p:sldLayoutId id="2147483842" r:id="rId44"/>
    <p:sldLayoutId id="2147483846" r:id="rId45"/>
    <p:sldLayoutId id="2147483833" r:id="rId46"/>
    <p:sldLayoutId id="2147483850" r:id="rId47"/>
    <p:sldLayoutId id="2147483849" r:id="rId48"/>
    <p:sldLayoutId id="2147483794" r:id="rId49"/>
    <p:sldLayoutId id="2147483855" r:id="rId50"/>
    <p:sldLayoutId id="2147483856" r:id="rId51"/>
  </p:sldLayoutIdLst>
  <p:txStyles>
    <p:titleStyle>
      <a:lvl1pPr algn="l" defTabSz="914400" rtl="0" eaLnBrk="1" latinLnBrk="0" hangingPunct="1">
        <a:lnSpc>
          <a:spcPts val="3800"/>
        </a:lnSpc>
        <a:spcBef>
          <a:spcPct val="0"/>
        </a:spcBef>
        <a:buNone/>
        <a:defRPr sz="4000" b="1" i="0" kern="1200" spc="-100" baseline="0">
          <a:solidFill>
            <a:schemeClr val="tx1">
              <a:lumMod val="85000"/>
              <a:lumOff val="15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5425" indent="-225425" algn="l" defTabSz="914400" rtl="0" eaLnBrk="1" latinLnBrk="0" hangingPunct="1">
        <a:lnSpc>
          <a:spcPct val="120000"/>
        </a:lnSpc>
        <a:spcBef>
          <a:spcPts val="0"/>
        </a:spcBef>
        <a:spcAft>
          <a:spcPts val="700"/>
        </a:spcAft>
        <a:buClr>
          <a:schemeClr val="tx2"/>
        </a:buClr>
        <a:buSzPct val="135000"/>
        <a:buFont typeface="Arial" panose="020B0604020202020204" pitchFamily="34" charset="0"/>
        <a:buChar char="•"/>
        <a:tabLst/>
        <a:defRPr sz="2400" b="0" i="0" kern="1200" spc="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47675" indent="-222250" algn="l" defTabSz="914400" rtl="0" eaLnBrk="1" latinLnBrk="0" hangingPunct="1">
        <a:lnSpc>
          <a:spcPct val="120000"/>
        </a:lnSpc>
        <a:spcBef>
          <a:spcPts val="0"/>
        </a:spcBef>
        <a:spcAft>
          <a:spcPts val="700"/>
        </a:spcAft>
        <a:buClr>
          <a:schemeClr val="tx2"/>
        </a:buClr>
        <a:buSzPct val="115000"/>
        <a:buFont typeface="Arial" panose="020B0604020202020204" pitchFamily="34" charset="0"/>
        <a:buChar char="•"/>
        <a:tabLst/>
        <a:defRPr sz="2400" b="0" i="0" kern="1200" spc="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577850" indent="-130175" algn="l" defTabSz="914400" rtl="0" eaLnBrk="1" latinLnBrk="0" hangingPunct="1">
        <a:lnSpc>
          <a:spcPct val="120000"/>
        </a:lnSpc>
        <a:spcBef>
          <a:spcPts val="0"/>
        </a:spcBef>
        <a:spcAft>
          <a:spcPts val="700"/>
        </a:spcAft>
        <a:buClr>
          <a:schemeClr val="tx2"/>
        </a:buClr>
        <a:buSzPct val="80000"/>
        <a:buFont typeface="Wingdings" pitchFamily="2" charset="2"/>
        <a:buChar char="§"/>
        <a:tabLst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90588" indent="-176213" algn="l" defTabSz="914400" rtl="0" eaLnBrk="1" latinLnBrk="0" hangingPunct="1">
        <a:lnSpc>
          <a:spcPct val="120000"/>
        </a:lnSpc>
        <a:spcBef>
          <a:spcPts val="0"/>
        </a:spcBef>
        <a:spcAft>
          <a:spcPts val="700"/>
        </a:spcAft>
        <a:buClr>
          <a:schemeClr val="tx2"/>
        </a:buClr>
        <a:buSzPct val="70000"/>
        <a:buFont typeface="Wingdings" pitchFamily="2" charset="2"/>
        <a:buChar char="§"/>
        <a:tabLst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155700" indent="-225425" algn="l" defTabSz="914400" rtl="0" eaLnBrk="1" latinLnBrk="0" hangingPunct="1">
        <a:lnSpc>
          <a:spcPct val="120000"/>
        </a:lnSpc>
        <a:spcBef>
          <a:spcPts val="0"/>
        </a:spcBef>
        <a:buClr>
          <a:schemeClr val="tx2"/>
        </a:buClr>
        <a:buFont typeface="Arial" panose="020B0503030202060203" pitchFamily="34" charset="0"/>
        <a:buChar char="–"/>
        <a:tabLst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33508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50000"/>
        <a:buFont typeface="Wingdings" pitchFamily="2" charset="2"/>
        <a:buChar char="§"/>
        <a:tabLst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43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d-ID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81" userDrawn="1">
          <p15:clr>
            <a:srgbClr val="A4A3A4"/>
          </p15:clr>
        </p15:guide>
        <p15:guide id="2" pos="455" userDrawn="1">
          <p15:clr>
            <a:srgbClr val="9FCC3B"/>
          </p15:clr>
        </p15:guide>
        <p15:guide id="4" pos="7225" userDrawn="1">
          <p15:clr>
            <a:srgbClr val="F26B43"/>
          </p15:clr>
        </p15:guide>
        <p15:guide id="7" orient="horz" pos="3929" userDrawn="1">
          <p15:clr>
            <a:srgbClr val="F26B43"/>
          </p15:clr>
        </p15:guide>
        <p15:guide id="8" orient="horz" pos="339" userDrawn="1">
          <p15:clr>
            <a:srgbClr val="F26B43"/>
          </p15:clr>
        </p15:guide>
        <p15:guide id="9" orient="horz" pos="626" userDrawn="1">
          <p15:clr>
            <a:srgbClr val="A4A3A4"/>
          </p15:clr>
        </p15:guide>
        <p15:guide id="10" orient="horz" pos="766" userDrawn="1">
          <p15:clr>
            <a:srgbClr val="A4A3A4"/>
          </p15:clr>
        </p15:guide>
        <p15:guide id="11" orient="horz" pos="912" userDrawn="1">
          <p15:clr>
            <a:srgbClr val="A4A3A4"/>
          </p15:clr>
        </p15:guide>
        <p15:guide id="12" orient="horz" pos="1057" userDrawn="1">
          <p15:clr>
            <a:srgbClr val="A4A3A4"/>
          </p15:clr>
        </p15:guide>
        <p15:guide id="13" orient="horz" pos="1202" userDrawn="1">
          <p15:clr>
            <a:srgbClr val="A4A3A4"/>
          </p15:clr>
        </p15:guide>
        <p15:guide id="14" orient="horz" pos="1344" userDrawn="1">
          <p15:clr>
            <a:srgbClr val="A4A3A4"/>
          </p15:clr>
        </p15:guide>
        <p15:guide id="15" orient="horz" pos="1488" userDrawn="1">
          <p15:clr>
            <a:srgbClr val="A4A3A4"/>
          </p15:clr>
        </p15:guide>
        <p15:guide id="16" orient="horz" pos="1633" userDrawn="1">
          <p15:clr>
            <a:srgbClr val="A4A3A4"/>
          </p15:clr>
        </p15:guide>
        <p15:guide id="17" orient="horz" pos="1778" userDrawn="1">
          <p15:clr>
            <a:srgbClr val="A4A3A4"/>
          </p15:clr>
        </p15:guide>
        <p15:guide id="18" orient="horz" pos="1924" userDrawn="1">
          <p15:clr>
            <a:srgbClr val="A4A3A4"/>
          </p15:clr>
        </p15:guide>
        <p15:guide id="19" orient="horz" pos="2064" userDrawn="1">
          <p15:clr>
            <a:srgbClr val="A4A3A4"/>
          </p15:clr>
        </p15:guide>
        <p15:guide id="20" orient="horz" pos="2215" userDrawn="1">
          <p15:clr>
            <a:srgbClr val="A4A3A4"/>
          </p15:clr>
        </p15:guide>
        <p15:guide id="21" orient="horz" pos="2354" userDrawn="1">
          <p15:clr>
            <a:srgbClr val="A4A3A4"/>
          </p15:clr>
        </p15:guide>
        <p15:guide id="22" orient="horz" pos="2500" userDrawn="1">
          <p15:clr>
            <a:srgbClr val="A4A3A4"/>
          </p15:clr>
        </p15:guide>
        <p15:guide id="23" orient="horz" pos="2645" userDrawn="1">
          <p15:clr>
            <a:srgbClr val="A4A3A4"/>
          </p15:clr>
        </p15:guide>
        <p15:guide id="24" orient="horz" pos="2785" userDrawn="1">
          <p15:clr>
            <a:srgbClr val="A4A3A4"/>
          </p15:clr>
        </p15:guide>
        <p15:guide id="25" orient="horz" pos="2930" userDrawn="1">
          <p15:clr>
            <a:srgbClr val="A4A3A4"/>
          </p15:clr>
        </p15:guide>
        <p15:guide id="26" orient="horz" pos="3076" userDrawn="1">
          <p15:clr>
            <a:srgbClr val="A4A3A4"/>
          </p15:clr>
        </p15:guide>
        <p15:guide id="27" orient="horz" pos="3216" userDrawn="1">
          <p15:clr>
            <a:srgbClr val="A4A3A4"/>
          </p15:clr>
        </p15:guide>
        <p15:guide id="28" orient="horz" pos="3361" userDrawn="1">
          <p15:clr>
            <a:srgbClr val="A4A3A4"/>
          </p15:clr>
        </p15:guide>
        <p15:guide id="29" orient="horz" pos="3506" userDrawn="1">
          <p15:clr>
            <a:srgbClr val="A4A3A4"/>
          </p15:clr>
        </p15:guide>
        <p15:guide id="30" orient="horz" pos="3652" userDrawn="1">
          <p15:clr>
            <a:srgbClr val="A4A3A4"/>
          </p15:clr>
        </p15:guide>
        <p15:guide id="31" orient="horz" pos="3797" userDrawn="1">
          <p15:clr>
            <a:srgbClr val="A4A3A4"/>
          </p15:clr>
        </p15:guide>
        <p15:guide id="32" pos="2048" userDrawn="1">
          <p15:clr>
            <a:srgbClr val="9FCC3B"/>
          </p15:clr>
        </p15:guide>
        <p15:guide id="33" pos="2175" userDrawn="1">
          <p15:clr>
            <a:srgbClr val="9FCC3B"/>
          </p15:clr>
        </p15:guide>
        <p15:guide id="34" pos="3780" userDrawn="1">
          <p15:clr>
            <a:srgbClr val="9FCC3B"/>
          </p15:clr>
        </p15:guide>
        <p15:guide id="35" pos="3892" userDrawn="1">
          <p15:clr>
            <a:srgbClr val="9FCC3B"/>
          </p15:clr>
        </p15:guide>
        <p15:guide id="36" pos="5501" userDrawn="1">
          <p15:clr>
            <a:srgbClr val="9FCC3B"/>
          </p15:clr>
        </p15:guide>
        <p15:guide id="37" pos="5617" userDrawn="1">
          <p15:clr>
            <a:srgbClr val="9FCC3B"/>
          </p15:clr>
        </p15:guide>
        <p15:guide id="38" pos="2634" userDrawn="1">
          <p15:clr>
            <a:srgbClr val="C35EA4"/>
          </p15:clr>
        </p15:guide>
        <p15:guide id="39" pos="2746" userDrawn="1">
          <p15:clr>
            <a:srgbClr val="C35EA4"/>
          </p15:clr>
        </p15:guide>
        <p15:guide id="40" pos="4929" userDrawn="1">
          <p15:clr>
            <a:srgbClr val="C35EA4"/>
          </p15:clr>
        </p15:guide>
        <p15:guide id="41" pos="5041" userDrawn="1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44.xml"/><Relationship Id="rId6" Type="http://schemas.openxmlformats.org/officeDocument/2006/relationships/image" Target="../media/image3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45.xml"/><Relationship Id="rId6" Type="http://schemas.openxmlformats.org/officeDocument/2006/relationships/image" Target="../media/image3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46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video" Target="../media/media2.mp4"/><Relationship Id="rId7" Type="http://schemas.openxmlformats.org/officeDocument/2006/relationships/image" Target="../media/image1.emf"/><Relationship Id="rId2" Type="http://schemas.microsoft.com/office/2007/relationships/media" Target="../media/media2.mp4"/><Relationship Id="rId1" Type="http://schemas.openxmlformats.org/officeDocument/2006/relationships/tags" Target="../tags/tag47.xml"/><Relationship Id="rId6" Type="http://schemas.openxmlformats.org/officeDocument/2006/relationships/oleObject" Target="../embeddings/oleObject46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4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video" Target="../media/media3.mp4"/><Relationship Id="rId7" Type="http://schemas.openxmlformats.org/officeDocument/2006/relationships/image" Target="../media/image1.emf"/><Relationship Id="rId2" Type="http://schemas.microsoft.com/office/2007/relationships/media" Target="../media/media3.mp4"/><Relationship Id="rId1" Type="http://schemas.openxmlformats.org/officeDocument/2006/relationships/tags" Target="../tags/tag49.xml"/><Relationship Id="rId6" Type="http://schemas.openxmlformats.org/officeDocument/2006/relationships/oleObject" Target="../embeddings/oleObject46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2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2" Type="http://schemas.openxmlformats.org/officeDocument/2006/relationships/video" Target="../media/media4.mp4"/><Relationship Id="rId1" Type="http://schemas.microsoft.com/office/2007/relationships/media" Target="../media/media4.mp4"/><Relationship Id="rId5" Type="http://schemas.openxmlformats.org/officeDocument/2006/relationships/image" Target="../media/image38.png"/><Relationship Id="rId4" Type="http://schemas.openxmlformats.org/officeDocument/2006/relationships/notesSlide" Target="../notesSlides/notesSlide1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5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video" Target="../media/media5.mp4"/><Relationship Id="rId7" Type="http://schemas.openxmlformats.org/officeDocument/2006/relationships/image" Target="../media/image1.emf"/><Relationship Id="rId2" Type="http://schemas.microsoft.com/office/2007/relationships/media" Target="../media/media5.mp4"/><Relationship Id="rId1" Type="http://schemas.openxmlformats.org/officeDocument/2006/relationships/tags" Target="../tags/tag51.xml"/><Relationship Id="rId6" Type="http://schemas.openxmlformats.org/officeDocument/2006/relationships/oleObject" Target="../embeddings/oleObject46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52.xml"/><Relationship Id="rId6" Type="http://schemas.openxmlformats.org/officeDocument/2006/relationships/image" Target="../media/image4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video" Target="../media/media6.mp4"/><Relationship Id="rId7" Type="http://schemas.openxmlformats.org/officeDocument/2006/relationships/image" Target="../media/image1.emf"/><Relationship Id="rId2" Type="http://schemas.microsoft.com/office/2007/relationships/media" Target="../media/media6.mp4"/><Relationship Id="rId1" Type="http://schemas.openxmlformats.org/officeDocument/2006/relationships/tags" Target="../tags/tag53.xml"/><Relationship Id="rId6" Type="http://schemas.openxmlformats.org/officeDocument/2006/relationships/oleObject" Target="../embeddings/oleObject47.bin"/><Relationship Id="rId5" Type="http://schemas.openxmlformats.org/officeDocument/2006/relationships/notesSlide" Target="../notesSlides/notesSlide15.xml"/><Relationship Id="rId4" Type="http://schemas.openxmlformats.org/officeDocument/2006/relationships/slideLayout" Target="../slideLayouts/slideLayout2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5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5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42.xm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4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FEE2E028-4581-42B5-9C9F-E8F6429A8C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6" name="Object 5">
                        <a:extLst>
                          <a:ext uri="{FF2B5EF4-FFF2-40B4-BE49-F238E27FC236}">
                            <a16:creationId xmlns:a16="http://schemas.microsoft.com/office/drawing/2014/main" id="{FEE2E028-4581-42B5-9C9F-E8F6429A8C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BB3C3E8-E3FC-064D-A357-3AC35CDD0F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BG" dirty="0"/>
              <a:t>Intro to Docker</a:t>
            </a:r>
          </a:p>
        </p:txBody>
      </p:sp>
    </p:spTree>
    <p:extLst>
      <p:ext uri="{BB962C8B-B14F-4D97-AF65-F5344CB8AC3E}">
        <p14:creationId xmlns:p14="http://schemas.microsoft.com/office/powerpoint/2010/main" val="40909850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7EAA358-9349-4582-86C4-BB726F9AA2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7EAA358-9349-4582-86C4-BB726F9AA2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0924003F-9B0F-9144-8167-C55FE206D5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4" y="538163"/>
            <a:ext cx="7869893" cy="1139825"/>
          </a:xfrm>
        </p:spPr>
        <p:txBody>
          <a:bodyPr/>
          <a:lstStyle/>
          <a:p>
            <a:r>
              <a:rPr lang="en-US" dirty="0"/>
              <a:t>Docker Desktop</a:t>
            </a:r>
            <a:endParaRPr lang="en-BG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4514728B-886D-1942-85FF-4F58AD3CC4CE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722312" y="1805152"/>
            <a:ext cx="7869895" cy="4432136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Recommended on Mac and Window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Free for personal use and educational purpos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Requires a subscription if you use it for business</a:t>
            </a:r>
            <a:endParaRPr lang="en-BG" dirty="0"/>
          </a:p>
        </p:txBody>
      </p:sp>
      <p:pic>
        <p:nvPicPr>
          <p:cNvPr id="2050" name="Picture 2" descr="Docker Logo and symbol, meaning, history, PNG, brand">
            <a:extLst>
              <a:ext uri="{FF2B5EF4-FFF2-40B4-BE49-F238E27FC236}">
                <a16:creationId xmlns:a16="http://schemas.microsoft.com/office/drawing/2014/main" id="{ED926D07-ACE8-C404-B2E9-917C3F55A2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7561" y="3718505"/>
            <a:ext cx="4200293" cy="2362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7530444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7EAA358-9349-4582-86C4-BB726F9AA2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7EAA358-9349-4582-86C4-BB726F9AA2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0924003F-9B0F-9144-8167-C55FE206D5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4" y="538163"/>
            <a:ext cx="7869893" cy="1139825"/>
          </a:xfrm>
        </p:spPr>
        <p:txBody>
          <a:bodyPr/>
          <a:lstStyle/>
          <a:p>
            <a:r>
              <a:rPr lang="en-US" dirty="0"/>
              <a:t>Alternatives to Docker</a:t>
            </a:r>
            <a:endParaRPr lang="en-BG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4514728B-886D-1942-85FF-4F58AD3CC4CE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722313" y="1805152"/>
            <a:ext cx="8608724" cy="4432136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err="1"/>
              <a:t>Podman</a:t>
            </a:r>
            <a:r>
              <a:rPr lang="en-US" dirty="0"/>
              <a:t> is a drop-in replacement for Docker Engin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err="1"/>
              <a:t>Podman</a:t>
            </a:r>
            <a:r>
              <a:rPr lang="en-US" dirty="0"/>
              <a:t> is not a complete replacement for Docker Desktop</a:t>
            </a:r>
            <a:endParaRPr lang="en-BG" dirty="0"/>
          </a:p>
        </p:txBody>
      </p:sp>
      <p:pic>
        <p:nvPicPr>
          <p:cNvPr id="1026" name="Picture 2" descr="Podman - The next generation of Linux container tools | Red Hat Developer">
            <a:extLst>
              <a:ext uri="{FF2B5EF4-FFF2-40B4-BE49-F238E27FC236}">
                <a16:creationId xmlns:a16="http://schemas.microsoft.com/office/drawing/2014/main" id="{111F5204-F5C3-750A-BF1F-7BCBFA557E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8078" y="5057918"/>
            <a:ext cx="4605918" cy="11793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1776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032C248-BF82-4A72-AD23-851BB7BCFB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032C248-BF82-4A72-AD23-851BB7BCFB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2E66CD96-F59E-2140-80D7-1A84399013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BG" dirty="0"/>
              <a:t>Glossary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0425BFF-3E00-5E45-80A2-AAF7448FDB53}"/>
              </a:ext>
            </a:extLst>
          </p:cNvPr>
          <p:cNvGrpSpPr>
            <a:grpSpLocks/>
          </p:cNvGrpSpPr>
          <p:nvPr/>
        </p:nvGrpSpPr>
        <p:grpSpPr bwMode="auto">
          <a:xfrm>
            <a:off x="6543840" y="1677988"/>
            <a:ext cx="4925848" cy="4349750"/>
            <a:chOff x="3681172" y="1969478"/>
            <a:chExt cx="2258606" cy="4349689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1B1F84D-063F-B244-A048-C5BCBAE28D4E}"/>
                </a:ext>
              </a:extLst>
            </p:cNvPr>
            <p:cNvSpPr/>
            <p:nvPr/>
          </p:nvSpPr>
          <p:spPr>
            <a:xfrm>
              <a:off x="3681172" y="1969479"/>
              <a:ext cx="2258606" cy="68420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1A2D1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86D2ABF9-F40F-7043-987B-8701D2704DC5}"/>
                </a:ext>
              </a:extLst>
            </p:cNvPr>
            <p:cNvSpPr/>
            <p:nvPr/>
          </p:nvSpPr>
          <p:spPr>
            <a:xfrm>
              <a:off x="3687523" y="1969478"/>
              <a:ext cx="2241257" cy="4349689"/>
            </a:xfrm>
            <a:prstGeom prst="rect">
              <a:avLst/>
            </a:prstGeom>
            <a:noFill/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3" name="TextBox 14">
              <a:extLst>
                <a:ext uri="{FF2B5EF4-FFF2-40B4-BE49-F238E27FC236}">
                  <a16:creationId xmlns:a16="http://schemas.microsoft.com/office/drawing/2014/main" id="{4AE22C55-F381-8649-9C20-3C1C9E1196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flipH="1">
              <a:off x="3854041" y="2057635"/>
              <a:ext cx="1891820" cy="4565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charset="0"/>
                </a:defRPr>
              </a:lvl9pPr>
            </a:lstStyle>
            <a:p>
              <a:pPr algn="ctr" eaLnBrk="1" hangingPunct="1">
                <a:lnSpc>
                  <a:spcPct val="150000"/>
                </a:lnSpc>
              </a:pPr>
              <a:r>
                <a:rPr lang="en-US" altLang="x-none" sz="1800" b="1" i="0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Container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CF6C1A5-19A9-D640-B052-A6BF4796D8E7}"/>
                </a:ext>
              </a:extLst>
            </p:cNvPr>
            <p:cNvSpPr txBox="1"/>
            <p:nvPr/>
          </p:nvSpPr>
          <p:spPr>
            <a:xfrm>
              <a:off x="3699548" y="2825457"/>
              <a:ext cx="2218027" cy="256409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noAutofit/>
            </a:bodyPr>
            <a:lstStyle/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BG" sz="2000" dirty="0"/>
                <a:t>A runtime instance of an Image</a:t>
              </a:r>
            </a:p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BG" sz="2000" dirty="0"/>
                <a:t>Many instances can share an Image</a:t>
              </a:r>
            </a:p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BG" sz="2000" dirty="0"/>
                <a:t>Containers have state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BD15A2D5-46B0-5D45-952D-F479730D8799}"/>
              </a:ext>
            </a:extLst>
          </p:cNvPr>
          <p:cNvGrpSpPr>
            <a:grpSpLocks/>
          </p:cNvGrpSpPr>
          <p:nvPr/>
        </p:nvGrpSpPr>
        <p:grpSpPr bwMode="auto">
          <a:xfrm>
            <a:off x="722313" y="1677988"/>
            <a:ext cx="4939705" cy="4349750"/>
            <a:chOff x="1070348" y="1969478"/>
            <a:chExt cx="2247232" cy="4349688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16E3CA7E-B219-474B-99D9-965C6865F3FA}"/>
                </a:ext>
              </a:extLst>
            </p:cNvPr>
            <p:cNvSpPr/>
            <p:nvPr/>
          </p:nvSpPr>
          <p:spPr>
            <a:xfrm>
              <a:off x="1076698" y="1969478"/>
              <a:ext cx="2240882" cy="68420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D2112C3A-F0E9-1444-8335-6CBCB7FCEB5F}"/>
                </a:ext>
              </a:extLst>
            </p:cNvPr>
            <p:cNvSpPr/>
            <p:nvPr/>
          </p:nvSpPr>
          <p:spPr>
            <a:xfrm>
              <a:off x="1076698" y="1969478"/>
              <a:ext cx="2240468" cy="4349688"/>
            </a:xfrm>
            <a:prstGeom prst="rect">
              <a:avLst/>
            </a:prstGeom>
            <a:noFill/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21" name="TextBox 12">
              <a:extLst>
                <a:ext uri="{FF2B5EF4-FFF2-40B4-BE49-F238E27FC236}">
                  <a16:creationId xmlns:a16="http://schemas.microsoft.com/office/drawing/2014/main" id="{226616EA-0C8D-BF49-9A6E-17FADE919D4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flipH="1">
              <a:off x="1070348" y="2078316"/>
              <a:ext cx="2225180" cy="455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charset="0"/>
                </a:defRPr>
              </a:lvl9pPr>
            </a:lstStyle>
            <a:p>
              <a:pPr algn="ctr" eaLnBrk="1" hangingPunct="1">
                <a:lnSpc>
                  <a:spcPct val="150000"/>
                </a:lnSpc>
              </a:pPr>
              <a:r>
                <a:rPr lang="en-US" altLang="x-none" sz="1800" b="1" i="0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Image</a:t>
              </a:r>
              <a:endParaRPr lang="en-US" altLang="x-none" sz="1800" b="1" i="0" dirty="0">
                <a:solidFill>
                  <a:srgbClr val="FFFFFF"/>
                </a:solidFill>
                <a:latin typeface="Lato Black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54E54762-76BE-2C48-83D2-2B7DD0FB3246}"/>
                </a:ext>
              </a:extLst>
            </p:cNvPr>
            <p:cNvSpPr txBox="1"/>
            <p:nvPr/>
          </p:nvSpPr>
          <p:spPr>
            <a:xfrm>
              <a:off x="1092377" y="2826299"/>
              <a:ext cx="2218831" cy="256325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noAutofit/>
            </a:bodyPr>
            <a:lstStyle/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BG" sz="2000" dirty="0"/>
                <a:t>Built from a Dockerfile</a:t>
              </a:r>
            </a:p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BG" sz="2000" dirty="0"/>
                <a:t>Once built, images are immutable</a:t>
              </a:r>
            </a:p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BG" sz="2000" dirty="0"/>
                <a:t>Can be shared via a Registr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4181098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7EAA358-9349-4582-86C4-BB726F9AA2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9" imgH="349" progId="TCLayout.ActiveDocument.1">
                  <p:embed/>
                </p:oleObj>
              </mc:Choice>
              <mc:Fallback>
                <p:oleObj name="think-cell Slide" r:id="rId6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7EAA358-9349-4582-86C4-BB726F9AA2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0924003F-9B0F-9144-8167-C55FE206D5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4" y="538163"/>
            <a:ext cx="7869893" cy="1139825"/>
          </a:xfrm>
        </p:spPr>
        <p:txBody>
          <a:bodyPr/>
          <a:lstStyle/>
          <a:p>
            <a:r>
              <a:rPr lang="en-BG" dirty="0"/>
              <a:t>Let’s make a Container</a:t>
            </a:r>
          </a:p>
        </p:txBody>
      </p:sp>
      <p:pic>
        <p:nvPicPr>
          <p:cNvPr id="8" name="01-overview-2.mp4">
            <a:hlinkClick r:id="" action="ppaction://media"/>
            <a:extLst>
              <a:ext uri="{FF2B5EF4-FFF2-40B4-BE49-F238E27FC236}">
                <a16:creationId xmlns:a16="http://schemas.microsoft.com/office/drawing/2014/main" id="{1252024B-9B68-826A-92A8-2BAD89644F28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722314" y="1236124"/>
            <a:ext cx="8011763" cy="4995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78729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81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7EAA358-9349-4582-86C4-BB726F9AA2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7EAA358-9349-4582-86C4-BB726F9AA2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0924003F-9B0F-9144-8167-C55FE206D5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4" y="538163"/>
            <a:ext cx="7869893" cy="1139825"/>
          </a:xfrm>
        </p:spPr>
        <p:txBody>
          <a:bodyPr/>
          <a:lstStyle/>
          <a:p>
            <a:r>
              <a:rPr lang="en-US" dirty="0"/>
              <a:t>Anatomy of a </a:t>
            </a:r>
            <a:r>
              <a:rPr lang="en-US" dirty="0" err="1"/>
              <a:t>Dockerfile</a:t>
            </a:r>
            <a:endParaRPr lang="en-BG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4514728B-886D-1942-85FF-4F58AD3CC4CE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722313" y="1434164"/>
            <a:ext cx="8608724" cy="4803124"/>
          </a:xfrm>
        </p:spPr>
        <p:txBody>
          <a:bodyPr/>
          <a:lstStyle/>
          <a:p>
            <a:r>
              <a:rPr lang="en-US" dirty="0"/>
              <a:t>Use official Node.js 18 image as base</a:t>
            </a:r>
            <a:br>
              <a:rPr lang="en-US" dirty="0"/>
            </a:br>
            <a:r>
              <a:rPr lang="en-US" sz="2000" b="0" dirty="0">
                <a:solidFill>
                  <a:srgbClr val="859900"/>
                </a:solidFill>
                <a:effectLst/>
                <a:latin typeface="Menlo" panose="020B0609030804020204" pitchFamily="49" charset="0"/>
              </a:rPr>
              <a:t>FROM</a:t>
            </a:r>
            <a:r>
              <a:rPr lang="en-US" sz="2000" b="0" dirty="0">
                <a:solidFill>
                  <a:srgbClr val="839496"/>
                </a:solidFill>
                <a:effectLst/>
                <a:latin typeface="Menlo" panose="020B0609030804020204" pitchFamily="49" charset="0"/>
              </a:rPr>
              <a:t> node:18-slim</a:t>
            </a:r>
            <a:endParaRPr lang="en-US" sz="2000" dirty="0"/>
          </a:p>
          <a:p>
            <a:r>
              <a:rPr lang="en-US" dirty="0"/>
              <a:t>Copy the application source in /app</a:t>
            </a:r>
            <a:br>
              <a:rPr lang="en-US" dirty="0"/>
            </a:br>
            <a:r>
              <a:rPr lang="en-US" sz="2000" b="0" dirty="0">
                <a:solidFill>
                  <a:srgbClr val="859900"/>
                </a:solidFill>
                <a:effectLst/>
                <a:latin typeface="Menlo" panose="020B0609030804020204" pitchFamily="49" charset="0"/>
              </a:rPr>
              <a:t>RUN</a:t>
            </a:r>
            <a:r>
              <a:rPr lang="en-US" sz="2000" b="0" dirty="0">
                <a:solidFill>
                  <a:srgbClr val="839496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US" sz="2000" b="0" dirty="0" err="1">
                <a:solidFill>
                  <a:srgbClr val="839496"/>
                </a:solidFill>
                <a:effectLst/>
                <a:latin typeface="Menlo" panose="020B0609030804020204" pitchFamily="49" charset="0"/>
              </a:rPr>
              <a:t>mkdir</a:t>
            </a:r>
            <a:r>
              <a:rPr lang="en-US" sz="2000" b="0" dirty="0">
                <a:solidFill>
                  <a:srgbClr val="839496"/>
                </a:solidFill>
                <a:effectLst/>
                <a:latin typeface="Menlo" panose="020B0609030804020204" pitchFamily="49" charset="0"/>
              </a:rPr>
              <a:t> /app</a:t>
            </a:r>
            <a:br>
              <a:rPr lang="en-US" sz="2000" b="0" dirty="0">
                <a:solidFill>
                  <a:srgbClr val="839496"/>
                </a:solidFill>
                <a:effectLst/>
                <a:latin typeface="Menlo" panose="020B0609030804020204" pitchFamily="49" charset="0"/>
              </a:rPr>
            </a:br>
            <a:r>
              <a:rPr lang="en-US" sz="2000" b="0" dirty="0">
                <a:solidFill>
                  <a:srgbClr val="859900"/>
                </a:solidFill>
                <a:effectLst/>
                <a:latin typeface="Menlo" panose="020B0609030804020204" pitchFamily="49" charset="0"/>
              </a:rPr>
              <a:t>COPY</a:t>
            </a:r>
            <a:r>
              <a:rPr lang="en-US" sz="2000" b="0" dirty="0">
                <a:solidFill>
                  <a:srgbClr val="839496"/>
                </a:solidFill>
                <a:effectLst/>
                <a:latin typeface="Menlo" panose="020B0609030804020204" pitchFamily="49" charset="0"/>
              </a:rPr>
              <a:t> . /app</a:t>
            </a:r>
          </a:p>
          <a:p>
            <a:r>
              <a:rPr lang="en-US" dirty="0"/>
              <a:t>Install dependencies</a:t>
            </a:r>
            <a:br>
              <a:rPr lang="en-US" dirty="0"/>
            </a:br>
            <a:r>
              <a:rPr lang="en-US" sz="2000" b="0" dirty="0">
                <a:solidFill>
                  <a:srgbClr val="859900"/>
                </a:solidFill>
                <a:effectLst/>
                <a:latin typeface="Menlo" panose="020B0609030804020204" pitchFamily="49" charset="0"/>
              </a:rPr>
              <a:t>RUN</a:t>
            </a:r>
            <a:r>
              <a:rPr lang="en-US" sz="2000" b="0" dirty="0">
                <a:solidFill>
                  <a:srgbClr val="839496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US" sz="2000" b="0" dirty="0" err="1">
                <a:solidFill>
                  <a:srgbClr val="839496"/>
                </a:solidFill>
                <a:effectLst/>
                <a:latin typeface="Menlo" panose="020B0609030804020204" pitchFamily="49" charset="0"/>
              </a:rPr>
              <a:t>npm</a:t>
            </a:r>
            <a:r>
              <a:rPr lang="en-US" sz="2000" b="0" dirty="0">
                <a:solidFill>
                  <a:srgbClr val="839496"/>
                </a:solidFill>
                <a:effectLst/>
                <a:latin typeface="Menlo" panose="020B0609030804020204" pitchFamily="49" charset="0"/>
              </a:rPr>
              <a:t> ci &amp;&amp; </a:t>
            </a:r>
            <a:r>
              <a:rPr lang="en-US" sz="2000" b="0" dirty="0" err="1">
                <a:solidFill>
                  <a:srgbClr val="839496"/>
                </a:solidFill>
                <a:effectLst/>
                <a:latin typeface="Menlo" panose="020B0609030804020204" pitchFamily="49" charset="0"/>
              </a:rPr>
              <a:t>npm</a:t>
            </a:r>
            <a:r>
              <a:rPr lang="en-US" sz="2000" b="0" dirty="0">
                <a:solidFill>
                  <a:srgbClr val="839496"/>
                </a:solidFill>
                <a:effectLst/>
                <a:latin typeface="Menlo" panose="020B0609030804020204" pitchFamily="49" charset="0"/>
              </a:rPr>
              <a:t> cache clean -f</a:t>
            </a:r>
          </a:p>
          <a:p>
            <a:r>
              <a:rPr lang="en-US" dirty="0"/>
              <a:t>Configure and run app</a:t>
            </a:r>
            <a:br>
              <a:rPr lang="en-US" dirty="0"/>
            </a:br>
            <a:r>
              <a:rPr lang="en-US" sz="2000" b="0" dirty="0">
                <a:solidFill>
                  <a:srgbClr val="859900"/>
                </a:solidFill>
                <a:effectLst/>
                <a:latin typeface="Menlo" panose="020B0609030804020204" pitchFamily="49" charset="0"/>
              </a:rPr>
              <a:t>ENV</a:t>
            </a:r>
            <a:r>
              <a:rPr lang="en-US" sz="2000" b="0" dirty="0">
                <a:solidFill>
                  <a:srgbClr val="839496"/>
                </a:solidFill>
                <a:effectLst/>
                <a:latin typeface="Menlo" panose="020B0609030804020204" pitchFamily="49" charset="0"/>
              </a:rPr>
              <a:t> APP_PORT=3000</a:t>
            </a:r>
            <a:br>
              <a:rPr lang="en-US" sz="2000" b="0" dirty="0">
                <a:solidFill>
                  <a:srgbClr val="839496"/>
                </a:solidFill>
                <a:effectLst/>
                <a:latin typeface="Menlo" panose="020B0609030804020204" pitchFamily="49" charset="0"/>
              </a:rPr>
            </a:br>
            <a:r>
              <a:rPr lang="en-US" sz="2000" b="0" dirty="0">
                <a:solidFill>
                  <a:srgbClr val="859900"/>
                </a:solidFill>
                <a:effectLst/>
                <a:latin typeface="Menlo" panose="020B0609030804020204" pitchFamily="49" charset="0"/>
              </a:rPr>
              <a:t>CMD</a:t>
            </a:r>
            <a:r>
              <a:rPr lang="en-US" sz="2000" b="0" dirty="0">
                <a:solidFill>
                  <a:srgbClr val="839496"/>
                </a:solidFill>
                <a:effectLst/>
                <a:latin typeface="Menlo" panose="020B0609030804020204" pitchFamily="49" charset="0"/>
              </a:rPr>
              <a:t> [</a:t>
            </a:r>
            <a:r>
              <a:rPr lang="en-US" sz="2000" b="0" dirty="0">
                <a:solidFill>
                  <a:srgbClr val="2AA198"/>
                </a:solidFill>
                <a:effectLst/>
                <a:latin typeface="Menlo" panose="020B0609030804020204" pitchFamily="49" charset="0"/>
              </a:rPr>
              <a:t>"node"</a:t>
            </a:r>
            <a:r>
              <a:rPr lang="en-US" sz="2000" b="0" dirty="0">
                <a:solidFill>
                  <a:srgbClr val="839496"/>
                </a:solidFill>
                <a:effectLst/>
                <a:latin typeface="Menlo" panose="020B0609030804020204" pitchFamily="49" charset="0"/>
              </a:rPr>
              <a:t>, </a:t>
            </a:r>
            <a:r>
              <a:rPr lang="en-US" sz="2000" b="0" dirty="0">
                <a:solidFill>
                  <a:srgbClr val="2AA198"/>
                </a:solidFill>
                <a:effectLst/>
                <a:latin typeface="Menlo" panose="020B0609030804020204" pitchFamily="49" charset="0"/>
              </a:rPr>
              <a:t>"./</a:t>
            </a:r>
            <a:r>
              <a:rPr lang="en-US" sz="2000" b="0" dirty="0" err="1">
                <a:solidFill>
                  <a:srgbClr val="2AA198"/>
                </a:solidFill>
                <a:effectLst/>
                <a:latin typeface="Menlo" panose="020B0609030804020204" pitchFamily="49" charset="0"/>
              </a:rPr>
              <a:t>src</a:t>
            </a:r>
            <a:r>
              <a:rPr lang="en-US" sz="2000" b="0" dirty="0">
                <a:solidFill>
                  <a:srgbClr val="2AA198"/>
                </a:solidFill>
                <a:effectLst/>
                <a:latin typeface="Menlo" panose="020B0609030804020204" pitchFamily="49" charset="0"/>
              </a:rPr>
              <a:t>/</a:t>
            </a:r>
            <a:r>
              <a:rPr lang="en-US" sz="2000" b="0" dirty="0" err="1">
                <a:solidFill>
                  <a:srgbClr val="2AA198"/>
                </a:solidFill>
                <a:effectLst/>
                <a:latin typeface="Menlo" panose="020B0609030804020204" pitchFamily="49" charset="0"/>
              </a:rPr>
              <a:t>index.js</a:t>
            </a:r>
            <a:r>
              <a:rPr lang="en-US" sz="2000" b="0" dirty="0">
                <a:solidFill>
                  <a:srgbClr val="2AA198"/>
                </a:solidFill>
                <a:effectLst/>
                <a:latin typeface="Menlo" panose="020B0609030804020204" pitchFamily="49" charset="0"/>
              </a:rPr>
              <a:t>"</a:t>
            </a:r>
            <a:r>
              <a:rPr lang="en-US" sz="2000" b="0" dirty="0">
                <a:solidFill>
                  <a:srgbClr val="839496"/>
                </a:solidFill>
                <a:effectLst/>
                <a:latin typeface="Menlo" panose="020B0609030804020204" pitchFamily="49" charset="0"/>
              </a:rPr>
              <a:t>]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118909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7EAA358-9349-4582-86C4-BB726F9AA2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9" imgH="349" progId="TCLayout.ActiveDocument.1">
                  <p:embed/>
                </p:oleObj>
              </mc:Choice>
              <mc:Fallback>
                <p:oleObj name="think-cell Slide" r:id="rId6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7EAA358-9349-4582-86C4-BB726F9AA2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0924003F-9B0F-9144-8167-C55FE206D5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4" y="538163"/>
            <a:ext cx="7869893" cy="1139825"/>
          </a:xfrm>
        </p:spPr>
        <p:txBody>
          <a:bodyPr/>
          <a:lstStyle/>
          <a:p>
            <a:r>
              <a:rPr lang="en-BG" dirty="0"/>
              <a:t>Building the Image</a:t>
            </a:r>
          </a:p>
        </p:txBody>
      </p:sp>
      <p:pic>
        <p:nvPicPr>
          <p:cNvPr id="5" name="02-build-1.mp4">
            <a:hlinkClick r:id="" action="ppaction://media"/>
            <a:extLst>
              <a:ext uri="{FF2B5EF4-FFF2-40B4-BE49-F238E27FC236}">
                <a16:creationId xmlns:a16="http://schemas.microsoft.com/office/drawing/2014/main" id="{A3241B4C-DF8B-F9EF-1103-296856BFE65F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722314" y="1302487"/>
            <a:ext cx="8047506" cy="5017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36444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30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CAC995-BBB2-4E48-B819-B2E6E6F4EE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BG" dirty="0"/>
              <a:t>Image Layers</a:t>
            </a:r>
          </a:p>
        </p:txBody>
      </p:sp>
      <p:pic>
        <p:nvPicPr>
          <p:cNvPr id="6" name="Picture Placeholder 5" descr="A computer screen capture&#10;&#10;Description automatically generated with medium confidence">
            <a:extLst>
              <a:ext uri="{FF2B5EF4-FFF2-40B4-BE49-F238E27FC236}">
                <a16:creationId xmlns:a16="http://schemas.microsoft.com/office/drawing/2014/main" id="{3E8B3D64-D5CA-F4B0-7B76-ADE508C986A4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2520" y="1505377"/>
            <a:ext cx="6699480" cy="4487552"/>
          </a:xfrm>
          <a:noFill/>
          <a:effectLst/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28686B6-E1C5-DC46-9314-F0E1D869DD65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722313" y="1677988"/>
            <a:ext cx="5024282" cy="4349750"/>
          </a:xfrm>
        </p:spPr>
        <p:txBody>
          <a:bodyPr/>
          <a:lstStyle/>
          <a:p>
            <a:r>
              <a:rPr lang="en-US" sz="2000" dirty="0"/>
              <a:t>Each </a:t>
            </a:r>
            <a:r>
              <a:rPr lang="en-US" sz="2000" dirty="0">
                <a:solidFill>
                  <a:srgbClr val="859900"/>
                </a:solidFill>
                <a:latin typeface="Menlo" panose="020B0609030804020204" pitchFamily="49" charset="0"/>
              </a:rPr>
              <a:t>COMMAND</a:t>
            </a:r>
            <a:r>
              <a:rPr lang="en-US" sz="2000" dirty="0"/>
              <a:t> creates a layer</a:t>
            </a:r>
          </a:p>
          <a:p>
            <a:r>
              <a:rPr lang="en-US" sz="2000" dirty="0"/>
              <a:t>A layer is a snapshot of the file system</a:t>
            </a:r>
          </a:p>
          <a:p>
            <a:r>
              <a:rPr lang="en-US" sz="2000" dirty="0"/>
              <a:t>Layers are cached and shared</a:t>
            </a:r>
          </a:p>
          <a:p>
            <a:r>
              <a:rPr lang="en-US" sz="2000" dirty="0"/>
              <a:t>Extra layers can increase image size</a:t>
            </a:r>
          </a:p>
          <a:p>
            <a:pPr marL="0" indent="0">
              <a:buNone/>
            </a:pPr>
            <a:r>
              <a:rPr lang="en-US" sz="2000" dirty="0"/>
              <a:t>  </a:t>
            </a:r>
            <a:r>
              <a:rPr lang="en-US" sz="2000" dirty="0">
                <a:solidFill>
                  <a:srgbClr val="859900"/>
                </a:solidFill>
                <a:latin typeface="Menlo" panose="020B0609030804020204" pitchFamily="49" charset="0"/>
              </a:rPr>
              <a:t>RUN</a:t>
            </a:r>
            <a:r>
              <a:rPr lang="en-US" sz="2000" dirty="0">
                <a:solidFill>
                  <a:srgbClr val="839496"/>
                </a:solidFill>
                <a:latin typeface="Menlo" panose="020B0609030804020204" pitchFamily="49" charset="0"/>
              </a:rPr>
              <a:t> </a:t>
            </a:r>
            <a:r>
              <a:rPr lang="en-US" sz="2000" dirty="0" err="1">
                <a:solidFill>
                  <a:srgbClr val="839496"/>
                </a:solidFill>
                <a:latin typeface="Menlo" panose="020B0609030804020204" pitchFamily="49" charset="0"/>
              </a:rPr>
              <a:t>npm</a:t>
            </a:r>
            <a:r>
              <a:rPr lang="en-US" sz="2000" dirty="0">
                <a:solidFill>
                  <a:srgbClr val="839496"/>
                </a:solidFill>
                <a:latin typeface="Menlo" panose="020B0609030804020204" pitchFamily="49" charset="0"/>
              </a:rPr>
              <a:t> ci &amp;&amp; \</a:t>
            </a:r>
          </a:p>
          <a:p>
            <a:pPr marL="0" indent="0">
              <a:buNone/>
            </a:pPr>
            <a:r>
              <a:rPr lang="en-US" sz="2000" dirty="0">
                <a:solidFill>
                  <a:srgbClr val="839496"/>
                </a:solidFill>
                <a:latin typeface="Menlo" panose="020B0609030804020204" pitchFamily="49" charset="0"/>
              </a:rPr>
              <a:t>     </a:t>
            </a:r>
            <a:r>
              <a:rPr lang="en-US" sz="2000" dirty="0" err="1">
                <a:solidFill>
                  <a:srgbClr val="839496"/>
                </a:solidFill>
                <a:latin typeface="Menlo" panose="020B0609030804020204" pitchFamily="49" charset="0"/>
              </a:rPr>
              <a:t>npm</a:t>
            </a:r>
            <a:r>
              <a:rPr lang="en-US" sz="2000" dirty="0">
                <a:solidFill>
                  <a:srgbClr val="839496"/>
                </a:solidFill>
                <a:latin typeface="Menlo" panose="020B0609030804020204" pitchFamily="49" charset="0"/>
              </a:rPr>
              <a:t> cache clean -f</a:t>
            </a:r>
            <a:endParaRPr lang="en-US" sz="2000" dirty="0"/>
          </a:p>
          <a:p>
            <a:r>
              <a:rPr lang="en-US" sz="2000" dirty="0"/>
              <a:t>To see all image layers, run:</a:t>
            </a:r>
          </a:p>
          <a:p>
            <a:pPr marL="0" indent="0">
              <a:buNone/>
            </a:pPr>
            <a:r>
              <a:rPr lang="en-US" sz="2000" dirty="0"/>
              <a:t>  </a:t>
            </a:r>
            <a:r>
              <a:rPr lang="en-US" sz="2000" dirty="0">
                <a:solidFill>
                  <a:srgbClr val="839496"/>
                </a:solidFill>
                <a:latin typeface="Menlo" panose="020B0609030804020204" pitchFamily="49" charset="0"/>
              </a:rPr>
              <a:t>docker history node-app</a:t>
            </a:r>
            <a:endParaRPr lang="en-US" sz="2000" dirty="0"/>
          </a:p>
          <a:p>
            <a:pPr marL="0" indent="0">
              <a:buNone/>
            </a:pPr>
            <a:endParaRPr lang="en-BG" sz="2000" dirty="0"/>
          </a:p>
        </p:txBody>
      </p:sp>
    </p:spTree>
    <p:extLst>
      <p:ext uri="{BB962C8B-B14F-4D97-AF65-F5344CB8AC3E}">
        <p14:creationId xmlns:p14="http://schemas.microsoft.com/office/powerpoint/2010/main" val="167585749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CAC995-BBB2-4E48-B819-B2E6E6F4EE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BG" dirty="0"/>
              <a:t>Container Lifecyc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28686B6-E1C5-DC46-9314-F0E1D869DD65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722313" y="1677988"/>
            <a:ext cx="5024282" cy="4349750"/>
          </a:xfrm>
        </p:spPr>
        <p:txBody>
          <a:bodyPr/>
          <a:lstStyle/>
          <a:p>
            <a:r>
              <a:rPr lang="en-US" sz="2000" dirty="0"/>
              <a:t>Create a container instance</a:t>
            </a:r>
            <a:br>
              <a:rPr lang="en-US" sz="2000" dirty="0"/>
            </a:br>
            <a:r>
              <a:rPr lang="en-US" sz="2000" dirty="0">
                <a:solidFill>
                  <a:srgbClr val="839496"/>
                </a:solidFill>
                <a:latin typeface="Menlo" panose="020B0609030804020204" pitchFamily="49" charset="0"/>
              </a:rPr>
              <a:t>docker create </a:t>
            </a:r>
            <a:r>
              <a:rPr lang="en-US" sz="2000" dirty="0"/>
              <a:t>/</a:t>
            </a:r>
            <a:r>
              <a:rPr lang="en-US" sz="2000" dirty="0">
                <a:solidFill>
                  <a:srgbClr val="839496"/>
                </a:solidFill>
                <a:latin typeface="Menlo" panose="020B0609030804020204" pitchFamily="49" charset="0"/>
              </a:rPr>
              <a:t> docker run</a:t>
            </a:r>
          </a:p>
          <a:p>
            <a:r>
              <a:rPr lang="en-US" sz="2000" dirty="0"/>
              <a:t>Start / Stop a container</a:t>
            </a:r>
          </a:p>
          <a:p>
            <a:pPr marL="0" indent="0">
              <a:buNone/>
            </a:pPr>
            <a:r>
              <a:rPr lang="en-US" sz="2000" dirty="0"/>
              <a:t>   </a:t>
            </a:r>
            <a:r>
              <a:rPr lang="en-US" sz="2000" dirty="0">
                <a:solidFill>
                  <a:srgbClr val="839496"/>
                </a:solidFill>
                <a:latin typeface="Menlo" panose="020B0609030804020204" pitchFamily="49" charset="0"/>
              </a:rPr>
              <a:t>docker start </a:t>
            </a:r>
            <a:r>
              <a:rPr lang="en-US" sz="2000" dirty="0"/>
              <a:t>/ </a:t>
            </a:r>
            <a:r>
              <a:rPr lang="en-US" sz="2000" dirty="0">
                <a:solidFill>
                  <a:srgbClr val="839496"/>
                </a:solidFill>
                <a:latin typeface="Menlo" panose="020B0609030804020204" pitchFamily="49" charset="0"/>
              </a:rPr>
              <a:t>docker stop</a:t>
            </a:r>
          </a:p>
          <a:p>
            <a:r>
              <a:rPr lang="en-US" sz="2000" dirty="0"/>
              <a:t>Pause / </a:t>
            </a:r>
            <a:r>
              <a:rPr lang="en-US" sz="2000" dirty="0" err="1"/>
              <a:t>Unpause</a:t>
            </a:r>
            <a:r>
              <a:rPr lang="en-US" sz="2000" dirty="0"/>
              <a:t> a container</a:t>
            </a:r>
          </a:p>
          <a:p>
            <a:pPr marL="0" indent="0">
              <a:buNone/>
            </a:pPr>
            <a:r>
              <a:rPr lang="en-US" sz="2000" dirty="0"/>
              <a:t>   </a:t>
            </a:r>
            <a:r>
              <a:rPr lang="en-US" sz="2000" dirty="0">
                <a:solidFill>
                  <a:srgbClr val="839496"/>
                </a:solidFill>
                <a:latin typeface="Menlo" panose="020B0609030804020204" pitchFamily="49" charset="0"/>
              </a:rPr>
              <a:t>docker pause </a:t>
            </a:r>
            <a:r>
              <a:rPr lang="en-US" sz="2000" dirty="0"/>
              <a:t>/ </a:t>
            </a:r>
            <a:r>
              <a:rPr lang="en-US" sz="2000" dirty="0">
                <a:solidFill>
                  <a:srgbClr val="839496"/>
                </a:solidFill>
                <a:latin typeface="Menlo" panose="020B0609030804020204" pitchFamily="49" charset="0"/>
              </a:rPr>
              <a:t>docker </a:t>
            </a:r>
            <a:r>
              <a:rPr lang="en-US" sz="2000" dirty="0" err="1">
                <a:solidFill>
                  <a:srgbClr val="839496"/>
                </a:solidFill>
                <a:latin typeface="Menlo" panose="020B0609030804020204" pitchFamily="49" charset="0"/>
              </a:rPr>
              <a:t>unpause</a:t>
            </a:r>
            <a:endParaRPr lang="en-US" sz="2000" dirty="0">
              <a:solidFill>
                <a:srgbClr val="839496"/>
              </a:solidFill>
              <a:latin typeface="Menlo" panose="020B0609030804020204" pitchFamily="49" charset="0"/>
            </a:endParaRPr>
          </a:p>
          <a:p>
            <a:r>
              <a:rPr lang="en-US" sz="2000" dirty="0"/>
              <a:t>Delete a container</a:t>
            </a:r>
          </a:p>
          <a:p>
            <a:pPr marL="0" indent="0">
              <a:buNone/>
            </a:pPr>
            <a:r>
              <a:rPr lang="en-US" sz="2000" dirty="0"/>
              <a:t>   </a:t>
            </a:r>
            <a:r>
              <a:rPr lang="en-US" sz="2000" dirty="0">
                <a:solidFill>
                  <a:srgbClr val="839496"/>
                </a:solidFill>
                <a:latin typeface="Menlo" panose="020B0609030804020204" pitchFamily="49" charset="0"/>
              </a:rPr>
              <a:t>docker rm</a:t>
            </a:r>
          </a:p>
          <a:p>
            <a:r>
              <a:rPr lang="en-US" sz="2000" dirty="0"/>
              <a:t>List containers</a:t>
            </a:r>
          </a:p>
          <a:p>
            <a:pPr marL="0" indent="0">
              <a:buNone/>
            </a:pPr>
            <a:r>
              <a:rPr lang="en-US" sz="2000" dirty="0"/>
              <a:t>   </a:t>
            </a:r>
            <a:r>
              <a:rPr lang="en-US" sz="2000" dirty="0">
                <a:solidFill>
                  <a:srgbClr val="839496"/>
                </a:solidFill>
                <a:latin typeface="Menlo" panose="020B0609030804020204" pitchFamily="49" charset="0"/>
              </a:rPr>
              <a:t>docker </a:t>
            </a:r>
            <a:r>
              <a:rPr lang="en-US" sz="2000" dirty="0" err="1">
                <a:solidFill>
                  <a:srgbClr val="839496"/>
                </a:solidFill>
                <a:latin typeface="Menlo" panose="020B0609030804020204" pitchFamily="49" charset="0"/>
              </a:rPr>
              <a:t>ps</a:t>
            </a:r>
            <a:endParaRPr lang="en-BG" sz="2000" dirty="0">
              <a:solidFill>
                <a:srgbClr val="839496"/>
              </a:solidFill>
              <a:latin typeface="Menlo" panose="020B0609030804020204" pitchFamily="49" charset="0"/>
            </a:endParaRPr>
          </a:p>
        </p:txBody>
      </p:sp>
      <p:pic>
        <p:nvPicPr>
          <p:cNvPr id="7" name="03-lifecycle.mp4">
            <a:hlinkClick r:id="" action="ppaction://media"/>
            <a:extLst>
              <a:ext uri="{FF2B5EF4-FFF2-40B4-BE49-F238E27FC236}">
                <a16:creationId xmlns:a16="http://schemas.microsoft.com/office/drawing/2014/main" id="{23FD63C7-5FC0-E9B2-FCB4-B2583E6EF97E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5746595" y="1677988"/>
            <a:ext cx="5984488" cy="4181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83133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2134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7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7EAA358-9349-4582-86C4-BB726F9AA2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7EAA358-9349-4582-86C4-BB726F9AA2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0924003F-9B0F-9144-8167-C55FE206D5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4" y="538163"/>
            <a:ext cx="7869893" cy="1139825"/>
          </a:xfrm>
        </p:spPr>
        <p:txBody>
          <a:bodyPr/>
          <a:lstStyle/>
          <a:p>
            <a:r>
              <a:rPr lang="en-US" dirty="0"/>
              <a:t>Running the Container</a:t>
            </a:r>
            <a:endParaRPr lang="en-BG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4514728B-886D-1942-85FF-4F58AD3CC4CE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722312" y="1434164"/>
            <a:ext cx="10747373" cy="4803124"/>
          </a:xfrm>
        </p:spPr>
        <p:txBody>
          <a:bodyPr/>
          <a:lstStyle/>
          <a:p>
            <a:r>
              <a:rPr lang="en-US" dirty="0"/>
              <a:t>Create and run</a:t>
            </a:r>
            <a:br>
              <a:rPr lang="en-US" dirty="0"/>
            </a:br>
            <a:r>
              <a:rPr lang="en-US" sz="2000" b="0" dirty="0">
                <a:solidFill>
                  <a:srgbClr val="839496"/>
                </a:solidFill>
                <a:effectLst/>
                <a:latin typeface="Menlo" panose="020B0609030804020204" pitchFamily="49" charset="0"/>
              </a:rPr>
              <a:t>docker run -d --</a:t>
            </a:r>
            <a:r>
              <a:rPr lang="en-US" sz="2000" b="0" dirty="0" err="1">
                <a:solidFill>
                  <a:srgbClr val="839496"/>
                </a:solidFill>
                <a:effectLst/>
                <a:latin typeface="Menlo" panose="020B0609030804020204" pitchFamily="49" charset="0"/>
              </a:rPr>
              <a:t>init</a:t>
            </a:r>
            <a:r>
              <a:rPr lang="en-US" sz="2000" b="0" dirty="0">
                <a:solidFill>
                  <a:srgbClr val="839496"/>
                </a:solidFill>
                <a:effectLst/>
                <a:latin typeface="Menlo" panose="020B0609030804020204" pitchFamily="49" charset="0"/>
              </a:rPr>
              <a:t> -p 3000:3000 --name node-app-1 node-app</a:t>
            </a:r>
          </a:p>
          <a:p>
            <a:r>
              <a:rPr lang="en-US" dirty="0"/>
              <a:t>Create, run and remove on exit</a:t>
            </a:r>
            <a:br>
              <a:rPr lang="en-US" dirty="0"/>
            </a:br>
            <a:r>
              <a:rPr lang="en-US" sz="2000" b="0" dirty="0">
                <a:solidFill>
                  <a:srgbClr val="839496"/>
                </a:solidFill>
                <a:effectLst/>
                <a:latin typeface="Menlo" panose="020B0609030804020204" pitchFamily="49" charset="0"/>
              </a:rPr>
              <a:t>docker run --rm --</a:t>
            </a:r>
            <a:r>
              <a:rPr lang="en-US" sz="2000" b="0" dirty="0" err="1">
                <a:solidFill>
                  <a:srgbClr val="839496"/>
                </a:solidFill>
                <a:effectLst/>
                <a:latin typeface="Menlo" panose="020B0609030804020204" pitchFamily="49" charset="0"/>
              </a:rPr>
              <a:t>init</a:t>
            </a:r>
            <a:r>
              <a:rPr lang="en-US" sz="2000" b="0" dirty="0">
                <a:solidFill>
                  <a:srgbClr val="839496"/>
                </a:solidFill>
                <a:effectLst/>
                <a:latin typeface="Menlo" panose="020B0609030804020204" pitchFamily="49" charset="0"/>
              </a:rPr>
              <a:t> -it -p 3000:3000 node-app</a:t>
            </a:r>
            <a:endParaRPr lang="en-US" sz="2000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252410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7EAA358-9349-4582-86C4-BB726F9AA2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9" imgH="349" progId="TCLayout.ActiveDocument.1">
                  <p:embed/>
                </p:oleObj>
              </mc:Choice>
              <mc:Fallback>
                <p:oleObj name="think-cell Slide" r:id="rId6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7EAA358-9349-4582-86C4-BB726F9AA2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0924003F-9B0F-9144-8167-C55FE206D5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4" y="538163"/>
            <a:ext cx="8852866" cy="1139825"/>
          </a:xfrm>
        </p:spPr>
        <p:txBody>
          <a:bodyPr/>
          <a:lstStyle/>
          <a:p>
            <a:r>
              <a:rPr lang="en-BG" dirty="0"/>
              <a:t>L</a:t>
            </a:r>
            <a:r>
              <a:rPr lang="en-US" dirty="0"/>
              <a:t>e</a:t>
            </a:r>
            <a:r>
              <a:rPr lang="en-BG" dirty="0"/>
              <a:t>t’s make a .NET Core Container</a:t>
            </a:r>
          </a:p>
        </p:txBody>
      </p:sp>
      <p:pic>
        <p:nvPicPr>
          <p:cNvPr id="2" name="04-dotnet-overview.mp4">
            <a:hlinkClick r:id="" action="ppaction://media"/>
            <a:extLst>
              <a:ext uri="{FF2B5EF4-FFF2-40B4-BE49-F238E27FC236}">
                <a16:creationId xmlns:a16="http://schemas.microsoft.com/office/drawing/2014/main" id="{BCA24E5E-8A47-794E-7018-AD82718A1A38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722314" y="1182030"/>
            <a:ext cx="8346721" cy="52039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11472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1534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FEE2E028-4581-42B5-9C9F-E8F6429A8C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6" name="Object 5">
                        <a:extLst>
                          <a:ext uri="{FF2B5EF4-FFF2-40B4-BE49-F238E27FC236}">
                            <a16:creationId xmlns:a16="http://schemas.microsoft.com/office/drawing/2014/main" id="{FEE2E028-4581-42B5-9C9F-E8F6429A8C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BB3C3E8-E3FC-064D-A357-3AC35CDD0F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0640" y="3736975"/>
            <a:ext cx="6266925" cy="1383817"/>
          </a:xfrm>
        </p:spPr>
        <p:txBody>
          <a:bodyPr/>
          <a:lstStyle/>
          <a:p>
            <a:r>
              <a:rPr lang="en-BG" dirty="0"/>
              <a:t>Intro to </a:t>
            </a:r>
            <a:r>
              <a:rPr lang="en-BG" strike="sngStrike" dirty="0"/>
              <a:t>Docker</a:t>
            </a:r>
            <a:r>
              <a:rPr lang="en-BG" dirty="0"/>
              <a:t> Container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B143F8E-E54E-1C41-A056-F1724881451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BG" dirty="0"/>
              <a:t>As made popular by Docker</a:t>
            </a:r>
          </a:p>
        </p:txBody>
      </p:sp>
    </p:spTree>
    <p:extLst>
      <p:ext uri="{BB962C8B-B14F-4D97-AF65-F5344CB8AC3E}">
        <p14:creationId xmlns:p14="http://schemas.microsoft.com/office/powerpoint/2010/main" val="365981614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7EAA358-9349-4582-86C4-BB726F9AA2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7EAA358-9349-4582-86C4-BB726F9AA2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0924003F-9B0F-9144-8167-C55FE206D5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4" y="538163"/>
            <a:ext cx="7869893" cy="1139825"/>
          </a:xfrm>
        </p:spPr>
        <p:txBody>
          <a:bodyPr/>
          <a:lstStyle/>
          <a:p>
            <a:r>
              <a:rPr lang="en-US" dirty="0"/>
              <a:t>Anatomy of a multi-stage build</a:t>
            </a:r>
            <a:endParaRPr lang="en-BG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4514728B-886D-1942-85FF-4F58AD3CC4CE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722313" y="1434164"/>
            <a:ext cx="6050194" cy="4803124"/>
          </a:xfrm>
        </p:spPr>
        <p:txBody>
          <a:bodyPr/>
          <a:lstStyle/>
          <a:p>
            <a:r>
              <a:rPr lang="en-US" dirty="0"/>
              <a:t>Use .NET SDK as build image</a:t>
            </a:r>
          </a:p>
          <a:p>
            <a:r>
              <a:rPr lang="en-US" dirty="0"/>
              <a:t>Use ASP.NET as run-time image</a:t>
            </a:r>
            <a:endParaRPr lang="en-US" sz="2000" b="0" dirty="0">
              <a:solidFill>
                <a:srgbClr val="839496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3" name="Picture 2" descr="Text&#10;&#10;Description automatically generated">
            <a:extLst>
              <a:ext uri="{FF2B5EF4-FFF2-40B4-BE49-F238E27FC236}">
                <a16:creationId xmlns:a16="http://schemas.microsoft.com/office/drawing/2014/main" id="{3295B97D-B3E9-6AF6-E85E-9C3EA5522F6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7916" y="1353014"/>
            <a:ext cx="4751770" cy="46356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63900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7EAA358-9349-4582-86C4-BB726F9AA2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9" imgH="349" progId="TCLayout.ActiveDocument.1">
                  <p:embed/>
                </p:oleObj>
              </mc:Choice>
              <mc:Fallback>
                <p:oleObj name="think-cell Slide" r:id="rId6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7EAA358-9349-4582-86C4-BB726F9AA2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0924003F-9B0F-9144-8167-C55FE206D5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4" y="538163"/>
            <a:ext cx="8689315" cy="1139825"/>
          </a:xfrm>
        </p:spPr>
        <p:txBody>
          <a:bodyPr/>
          <a:lstStyle/>
          <a:p>
            <a:r>
              <a:rPr lang="en-US" dirty="0"/>
              <a:t>Look, no </a:t>
            </a:r>
            <a:r>
              <a:rPr lang="en-US" dirty="0" err="1"/>
              <a:t>Dockerfile</a:t>
            </a:r>
            <a:r>
              <a:rPr lang="en-US" dirty="0"/>
              <a:t>!</a:t>
            </a:r>
            <a:endParaRPr lang="en-BG" dirty="0"/>
          </a:p>
        </p:txBody>
      </p:sp>
      <p:pic>
        <p:nvPicPr>
          <p:cNvPr id="3" name="05-dotnet-sdk.mp4">
            <a:hlinkClick r:id="" action="ppaction://media"/>
            <a:extLst>
              <a:ext uri="{FF2B5EF4-FFF2-40B4-BE49-F238E27FC236}">
                <a16:creationId xmlns:a16="http://schemas.microsoft.com/office/drawing/2014/main" id="{42EF3AE9-0E1D-4737-8ACF-D6E14C1D11CE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722314" y="1156874"/>
            <a:ext cx="8281058" cy="5162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0652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5100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7EAA358-9349-4582-86C4-BB726F9AA2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7EAA358-9349-4582-86C4-BB726F9AA2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0924003F-9B0F-9144-8167-C55FE206D5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4" y="538163"/>
            <a:ext cx="7869893" cy="1139825"/>
          </a:xfrm>
        </p:spPr>
        <p:txBody>
          <a:bodyPr/>
          <a:lstStyle/>
          <a:p>
            <a:r>
              <a:rPr lang="en-US" dirty="0"/>
              <a:t>Tips and Tricks for Images</a:t>
            </a:r>
            <a:endParaRPr lang="en-BG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4514728B-886D-1942-85FF-4F58AD3CC4CE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722312" y="1434164"/>
            <a:ext cx="10747373" cy="4803124"/>
          </a:xfrm>
        </p:spPr>
        <p:txBody>
          <a:bodyPr/>
          <a:lstStyle/>
          <a:p>
            <a:r>
              <a:rPr lang="en-US" dirty="0"/>
              <a:t> Prefer official images for common software stacks</a:t>
            </a:r>
          </a:p>
          <a:p>
            <a:r>
              <a:rPr lang="en-US" dirty="0"/>
              <a:t> Otherwise, use Debian Linux as base</a:t>
            </a:r>
          </a:p>
          <a:p>
            <a:r>
              <a:rPr lang="en-US" dirty="0"/>
              <a:t> Don't worry too much about image size</a:t>
            </a:r>
          </a:p>
        </p:txBody>
      </p:sp>
    </p:spTree>
    <p:extLst>
      <p:ext uri="{BB962C8B-B14F-4D97-AF65-F5344CB8AC3E}">
        <p14:creationId xmlns:p14="http://schemas.microsoft.com/office/powerpoint/2010/main" val="115054120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7EAA358-9349-4582-86C4-BB726F9AA2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7EAA358-9349-4582-86C4-BB726F9AA2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0924003F-9B0F-9144-8167-C55FE206D5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4" y="538163"/>
            <a:ext cx="7869893" cy="1139825"/>
          </a:xfrm>
        </p:spPr>
        <p:txBody>
          <a:bodyPr/>
          <a:lstStyle/>
          <a:p>
            <a:r>
              <a:rPr lang="en-US" dirty="0"/>
              <a:t>Poll: Next Topics</a:t>
            </a:r>
            <a:endParaRPr lang="en-BG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4514728B-886D-1942-85FF-4F58AD3CC4CE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722312" y="1434164"/>
            <a:ext cx="10747373" cy="4803124"/>
          </a:xfrm>
        </p:spPr>
        <p:txBody>
          <a:bodyPr/>
          <a:lstStyle/>
          <a:p>
            <a:r>
              <a:rPr lang="en-US" dirty="0"/>
              <a:t>Containers in GitHub Actions</a:t>
            </a:r>
          </a:p>
          <a:p>
            <a:r>
              <a:rPr lang="en-US" dirty="0"/>
              <a:t>Deploying Container Apps</a:t>
            </a:r>
          </a:p>
          <a:p>
            <a:r>
              <a:rPr lang="en-US" dirty="0"/>
              <a:t>VS Code Development Containers</a:t>
            </a:r>
          </a:p>
          <a:p>
            <a:r>
              <a:rPr lang="en-US" dirty="0"/>
              <a:t>Windows Containers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632033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515186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3CBA2D00-0A31-4A40-97F7-4BEF84A495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container...</a:t>
            </a:r>
            <a:endParaRPr lang="en-BG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19C5535-31AF-3F48-A9FB-65076ABB7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BG" b="1" dirty="0"/>
              <a:t>Is not </a:t>
            </a:r>
            <a:r>
              <a:rPr lang="en-BG" dirty="0"/>
              <a:t>a Virtual Machine</a:t>
            </a:r>
          </a:p>
          <a:p>
            <a:r>
              <a:rPr lang="en-US" b="1" dirty="0"/>
              <a:t>Does not</a:t>
            </a:r>
            <a:r>
              <a:rPr lang="en-US" dirty="0"/>
              <a:t> have a complete</a:t>
            </a:r>
            <a:br>
              <a:rPr lang="en-US" dirty="0"/>
            </a:br>
            <a:r>
              <a:rPr lang="en-US" dirty="0"/>
              <a:t>Operating System</a:t>
            </a:r>
            <a:endParaRPr lang="en-BG" dirty="0"/>
          </a:p>
        </p:txBody>
      </p:sp>
    </p:spTree>
    <p:extLst>
      <p:ext uri="{BB962C8B-B14F-4D97-AF65-F5344CB8AC3E}">
        <p14:creationId xmlns:p14="http://schemas.microsoft.com/office/powerpoint/2010/main" val="38346989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3CBA2D00-0A31-4A40-97F7-4BEF84A495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container...</a:t>
            </a:r>
            <a:endParaRPr lang="en-BG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19C5535-31AF-3F48-A9FB-65076ABB7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BG" b="1" dirty="0"/>
              <a:t>Is </a:t>
            </a:r>
            <a:r>
              <a:rPr lang="en-BG" dirty="0"/>
              <a:t>a Virtual Environment</a:t>
            </a:r>
          </a:p>
          <a:p>
            <a:r>
              <a:rPr lang="en-US" b="1" dirty="0"/>
              <a:t>Is </a:t>
            </a:r>
            <a:r>
              <a:rPr lang="en-US" dirty="0"/>
              <a:t>running on the host OS</a:t>
            </a:r>
            <a:endParaRPr lang="en-BG" dirty="0"/>
          </a:p>
        </p:txBody>
      </p:sp>
    </p:spTree>
    <p:extLst>
      <p:ext uri="{BB962C8B-B14F-4D97-AF65-F5344CB8AC3E}">
        <p14:creationId xmlns:p14="http://schemas.microsoft.com/office/powerpoint/2010/main" val="5185457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7EAA358-9349-4582-86C4-BB726F9AA2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24744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0924003F-9B0F-9144-8167-C55FE206D5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4" y="538163"/>
            <a:ext cx="7869893" cy="1139825"/>
          </a:xfrm>
        </p:spPr>
        <p:txBody>
          <a:bodyPr/>
          <a:lstStyle/>
          <a:p>
            <a:r>
              <a:rPr lang="en-US" dirty="0"/>
              <a:t>Containers are Great</a:t>
            </a:r>
            <a:endParaRPr lang="en-BG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4514728B-886D-1942-85FF-4F58AD3CC4CE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722312" y="1805152"/>
            <a:ext cx="7869895" cy="4432136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For building applica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For shipping applica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For development environments</a:t>
            </a:r>
            <a:r>
              <a:rPr lang="en-BG" dirty="0"/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21701101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7EAA358-9349-4582-86C4-BB726F9AA2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7EAA358-9349-4582-86C4-BB726F9AA2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0924003F-9B0F-9144-8167-C55FE206D5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4" y="538163"/>
            <a:ext cx="7869893" cy="1139825"/>
          </a:xfrm>
        </p:spPr>
        <p:txBody>
          <a:bodyPr/>
          <a:lstStyle/>
          <a:p>
            <a:r>
              <a:rPr lang="en-US" dirty="0"/>
              <a:t>A history note</a:t>
            </a:r>
            <a:endParaRPr lang="en-BG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4514728B-886D-1942-85FF-4F58AD3CC4CE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722312" y="1805152"/>
            <a:ext cx="7869895" cy="4432136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It didn't all start with Dock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It didn't even start in this century :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Unix has had `chroot` since Forever 🦖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FreeBSD introduced Jails in 2000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Linux Containers (LXC) shipped in 2008</a:t>
            </a:r>
            <a:endParaRPr lang="en-BG" dirty="0"/>
          </a:p>
        </p:txBody>
      </p:sp>
    </p:spTree>
    <p:extLst>
      <p:ext uri="{BB962C8B-B14F-4D97-AF65-F5344CB8AC3E}">
        <p14:creationId xmlns:p14="http://schemas.microsoft.com/office/powerpoint/2010/main" val="41342100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7EAA358-9349-4582-86C4-BB726F9AA2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7EAA358-9349-4582-86C4-BB726F9AA2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0924003F-9B0F-9144-8167-C55FE206D5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4" y="538163"/>
            <a:ext cx="7869893" cy="1139825"/>
          </a:xfrm>
        </p:spPr>
        <p:txBody>
          <a:bodyPr/>
          <a:lstStyle/>
          <a:p>
            <a:r>
              <a:rPr lang="en-US" dirty="0"/>
              <a:t>Then Docker came along...</a:t>
            </a:r>
            <a:endParaRPr lang="en-BG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4514728B-886D-1942-85FF-4F58AD3CC4CE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722312" y="1805152"/>
            <a:ext cx="7869895" cy="4432136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And </a:t>
            </a:r>
            <a:r>
              <a:rPr lang="en-US" b="1" dirty="0"/>
              <a:t>nailed it </a:t>
            </a:r>
            <a:r>
              <a:rPr lang="en-US" dirty="0"/>
              <a:t>with ease of us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Everyone can </a:t>
            </a:r>
            <a:r>
              <a:rPr lang="en-US" b="1" dirty="0"/>
              <a:t>use</a:t>
            </a:r>
            <a:r>
              <a:rPr lang="en-US" i="1" dirty="0"/>
              <a:t> </a:t>
            </a:r>
            <a:r>
              <a:rPr lang="en-US" dirty="0"/>
              <a:t>containe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Everyone can </a:t>
            </a:r>
            <a:r>
              <a:rPr lang="en-US" b="1" dirty="0"/>
              <a:t>make</a:t>
            </a:r>
            <a:r>
              <a:rPr lang="en-US" i="1" dirty="0"/>
              <a:t> </a:t>
            </a:r>
            <a:r>
              <a:rPr lang="en-US" dirty="0"/>
              <a:t>containe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Everyone can </a:t>
            </a:r>
            <a:r>
              <a:rPr lang="en-US" b="1" dirty="0"/>
              <a:t>share</a:t>
            </a:r>
            <a:r>
              <a:rPr lang="en-US" dirty="0"/>
              <a:t> containe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Even on Mac and Windows</a:t>
            </a:r>
            <a:endParaRPr lang="en-BG" dirty="0"/>
          </a:p>
        </p:txBody>
      </p:sp>
    </p:spTree>
    <p:extLst>
      <p:ext uri="{BB962C8B-B14F-4D97-AF65-F5344CB8AC3E}">
        <p14:creationId xmlns:p14="http://schemas.microsoft.com/office/powerpoint/2010/main" val="21003259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7EAA358-9349-4582-86C4-BB726F9AA2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7EAA358-9349-4582-86C4-BB726F9AA2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0924003F-9B0F-9144-8167-C55FE206D5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4" y="538163"/>
            <a:ext cx="7869893" cy="1139825"/>
          </a:xfrm>
        </p:spPr>
        <p:txBody>
          <a:bodyPr/>
          <a:lstStyle/>
          <a:p>
            <a:r>
              <a:rPr lang="en-US" dirty="0"/>
              <a:t>Docker on Mac and Windows</a:t>
            </a:r>
            <a:endParaRPr lang="en-BG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4514728B-886D-1942-85FF-4F58AD3CC4CE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722312" y="1805152"/>
            <a:ext cx="7869895" cy="4432136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Linux containers run in a VM managed by Dock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Performance is not great, but adequate</a:t>
            </a:r>
            <a:endParaRPr lang="en-BG" dirty="0"/>
          </a:p>
        </p:txBody>
      </p:sp>
    </p:spTree>
    <p:extLst>
      <p:ext uri="{BB962C8B-B14F-4D97-AF65-F5344CB8AC3E}">
        <p14:creationId xmlns:p14="http://schemas.microsoft.com/office/powerpoint/2010/main" val="20317358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7EAA358-9349-4582-86C4-BB726F9AA2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7EAA358-9349-4582-86C4-BB726F9AA2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0924003F-9B0F-9144-8167-C55FE206D5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4" y="538163"/>
            <a:ext cx="7869893" cy="1139825"/>
          </a:xfrm>
        </p:spPr>
        <p:txBody>
          <a:bodyPr/>
          <a:lstStyle/>
          <a:p>
            <a:r>
              <a:rPr lang="en-US" dirty="0"/>
              <a:t>Native Windows Containers</a:t>
            </a:r>
            <a:endParaRPr lang="en-BG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4514728B-886D-1942-85FF-4F58AD3CC4CE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722312" y="1805152"/>
            <a:ext cx="7869895" cy="4432136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A closed ecosyste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A bit late to the part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Supported by Docker Desktop (kind of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Not covered in this talk</a:t>
            </a:r>
            <a:endParaRPr lang="en-BG" dirty="0"/>
          </a:p>
        </p:txBody>
      </p:sp>
    </p:spTree>
    <p:extLst>
      <p:ext uri="{BB962C8B-B14F-4D97-AF65-F5344CB8AC3E}">
        <p14:creationId xmlns:p14="http://schemas.microsoft.com/office/powerpoint/2010/main" val="2172240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Progress 2">
      <a:dk1>
        <a:srgbClr val="000000"/>
      </a:dk1>
      <a:lt1>
        <a:srgbClr val="FFFFFF"/>
      </a:lt1>
      <a:dk2>
        <a:srgbClr val="0052DB"/>
      </a:dk2>
      <a:lt2>
        <a:srgbClr val="F3FAFF"/>
      </a:lt2>
      <a:accent1>
        <a:srgbClr val="008963"/>
      </a:accent1>
      <a:accent2>
        <a:srgbClr val="FFD000"/>
      </a:accent2>
      <a:accent3>
        <a:srgbClr val="2889FC"/>
      </a:accent3>
      <a:accent4>
        <a:srgbClr val="00B563"/>
      </a:accent4>
      <a:accent5>
        <a:srgbClr val="A7E9FF"/>
      </a:accent5>
      <a:accent6>
        <a:srgbClr val="D5F6FF"/>
      </a:accent6>
      <a:hlink>
        <a:srgbClr val="0069E8"/>
      </a:hlink>
      <a:folHlink>
        <a:srgbClr val="76C1FF"/>
      </a:folHlink>
    </a:clrScheme>
    <a:fontScheme name="Custom 6">
      <a:majorFont>
        <a:latin typeface="Arial Bold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0"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square" lIns="0" tIns="0" rIns="0" bIns="0" rtlCol="0">
        <a:noAutofit/>
      </a:bodyPr>
      <a:lstStyle>
        <a:defPPr algn="l">
          <a:lnSpc>
            <a:spcPts val="2700"/>
          </a:lnSpc>
          <a:defRPr sz="2400" dirty="0" smtClean="0"/>
        </a:defPPr>
      </a:lstStyle>
    </a:txDef>
  </a:objectDefaults>
  <a:extraClrSchemeLst/>
  <a:custClrLst>
    <a:custClr name="Light Green S1">
      <a:srgbClr val="4FB850"/>
    </a:custClr>
    <a:custClr name="Yellow S1">
      <a:srgbClr val="FBCE0A"/>
    </a:custClr>
    <a:custClr name="Yellow S2">
      <a:srgbClr val="FAE400"/>
    </a:custClr>
    <a:custClr name="Red S2">
      <a:srgbClr val="F1627A"/>
    </a:custClr>
    <a:custClr name="Light Blue S1">
      <a:srgbClr val="00BCED"/>
    </a:custClr>
    <a:custClr name="Blue Line">
      <a:srgbClr val="0053A5"/>
    </a:custClr>
    <a:custClr name="TEAL S3">
      <a:srgbClr val="0AA39F"/>
    </a:custClr>
    <a:custClr name="Purple S1">
      <a:srgbClr val="311B97"/>
    </a:custClr>
    <a:custClr name="Purple S2">
      <a:srgbClr val="5122B9"/>
    </a:custClr>
    <a:custClr name="Light Gray S2">
      <a:srgbClr val="DDE9F7"/>
    </a:custClr>
  </a:custClrLst>
  <a:extLst>
    <a:ext uri="{05A4C25C-085E-4340-85A3-A5531E510DB2}">
      <thm15:themeFamily xmlns:thm15="http://schemas.microsoft.com/office/thememl/2012/main" name="Progress PowerPoint Template 2023" id="{5BB33F82-8F7B-924C-B5CD-D84B0DFE23F4}" vid="{A775D8AF-255E-1F4D-86EE-D2F2C1F3E18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911</TotalTime>
  <Words>799</Words>
  <Application>Microsoft Macintosh PowerPoint</Application>
  <PresentationFormat>Widescreen</PresentationFormat>
  <Paragraphs>128</Paragraphs>
  <Slides>24</Slides>
  <Notes>17</Notes>
  <HiddenSlides>0</HiddenSlides>
  <MMClips>5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0" baseType="lpstr">
      <vt:lpstr>Arial</vt:lpstr>
      <vt:lpstr>Lato Black</vt:lpstr>
      <vt:lpstr>Menlo</vt:lpstr>
      <vt:lpstr>Wingdings</vt:lpstr>
      <vt:lpstr>Office Theme</vt:lpstr>
      <vt:lpstr>think-cell Slide</vt:lpstr>
      <vt:lpstr>Intro to Docker</vt:lpstr>
      <vt:lpstr>Intro to Docker Containers</vt:lpstr>
      <vt:lpstr>A container...</vt:lpstr>
      <vt:lpstr>A container...</vt:lpstr>
      <vt:lpstr>Containers are Great</vt:lpstr>
      <vt:lpstr>A history note</vt:lpstr>
      <vt:lpstr>Then Docker came along...</vt:lpstr>
      <vt:lpstr>Docker on Mac and Windows</vt:lpstr>
      <vt:lpstr>Native Windows Containers</vt:lpstr>
      <vt:lpstr>Docker Desktop</vt:lpstr>
      <vt:lpstr>Alternatives to Docker</vt:lpstr>
      <vt:lpstr>Glossary</vt:lpstr>
      <vt:lpstr>Let’s make a Container</vt:lpstr>
      <vt:lpstr>Anatomy of a Dockerfile</vt:lpstr>
      <vt:lpstr>Building the Image</vt:lpstr>
      <vt:lpstr>Image Layers</vt:lpstr>
      <vt:lpstr>Container Lifecycle</vt:lpstr>
      <vt:lpstr>Running the Container</vt:lpstr>
      <vt:lpstr>Let’s make a .NET Core Container</vt:lpstr>
      <vt:lpstr>Anatomy of a multi-stage build</vt:lpstr>
      <vt:lpstr>Look, no Dockerfile!</vt:lpstr>
      <vt:lpstr>Tips and Tricks for Images</vt:lpstr>
      <vt:lpstr>Poll: Next Topic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svetomir Tsonev</dc:creator>
  <cp:lastModifiedBy>Tsvetomir Tsonev</cp:lastModifiedBy>
  <cp:revision>2</cp:revision>
  <dcterms:created xsi:type="dcterms:W3CDTF">2023-03-16T19:49:55Z</dcterms:created>
  <dcterms:modified xsi:type="dcterms:W3CDTF">2023-03-23T10:54:38Z</dcterms:modified>
</cp:coreProperties>
</file>